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5.xml" ContentType="application/vnd.openxmlformats-officedocument.presentationml.tags+xml"/>
  <Override PartName="/ppt/notesSlides/notesSlide2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99" r:id="rId5"/>
  </p:sldMasterIdLst>
  <p:notesMasterIdLst>
    <p:notesMasterId r:id="rId31"/>
  </p:notesMasterIdLst>
  <p:sldIdLst>
    <p:sldId id="1682" r:id="rId6"/>
    <p:sldId id="1683" r:id="rId7"/>
    <p:sldId id="1675" r:id="rId8"/>
    <p:sldId id="1719" r:id="rId9"/>
    <p:sldId id="1711" r:id="rId10"/>
    <p:sldId id="1696" r:id="rId11"/>
    <p:sldId id="1695" r:id="rId12"/>
    <p:sldId id="1701" r:id="rId13"/>
    <p:sldId id="1694" r:id="rId14"/>
    <p:sldId id="1703" r:id="rId15"/>
    <p:sldId id="1704" r:id="rId16"/>
    <p:sldId id="1706" r:id="rId17"/>
    <p:sldId id="1724" r:id="rId18"/>
    <p:sldId id="1727" r:id="rId19"/>
    <p:sldId id="1728" r:id="rId20"/>
    <p:sldId id="1725" r:id="rId21"/>
    <p:sldId id="1722" r:id="rId22"/>
    <p:sldId id="1734" r:id="rId23"/>
    <p:sldId id="1729" r:id="rId24"/>
    <p:sldId id="1732" r:id="rId25"/>
    <p:sldId id="1733" r:id="rId26"/>
    <p:sldId id="1735" r:id="rId27"/>
    <p:sldId id="1731" r:id="rId28"/>
    <p:sldId id="1721" r:id="rId29"/>
    <p:sldId id="1688" r:id="rId30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7FA133-CCD8-8767-D23A-0FFA6F81B25A}" name="Nicole Klues" initials="NK" userId="S::nicole.klues@safalpartners.com::41985e93-cdf7-420c-b679-bc5fa512c100" providerId="AD"/>
  <p188:author id="{4D723054-ADF4-E965-A74C-B9296C50F51A}" name="Judy Blanchard" initials="JB" userId="S::judy.blanchard@safalpartners.com::996cf39c-9499-4183-809a-e47cbd595690" providerId="AD"/>
  <p188:author id="{CE21EBCB-E5FB-F1E1-A17D-C1C739217AFE}" name="Katie Adams" initials="KA" userId="S::katie.adams@safalpartners.com::9f2e6d00-44bd-4c75-9c75-d813f6b933da" providerId="AD"/>
  <p188:author id="{491E4DE4-0247-C1FF-A0BC-5FAAC8E266C2}" name="Michelle Carson" initials="MC" userId="S::michelle.carson@safalpartners.com::c12fad4d-602b-46c9-b455-39d7a6962d1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ivani Chatterjee" initials="SC" lastIdx="8" clrIdx="0">
    <p:extLst>
      <p:ext uri="{19B8F6BF-5375-455C-9EA6-DF929625EA0E}">
        <p15:presenceInfo xmlns:p15="http://schemas.microsoft.com/office/powerpoint/2012/main" userId="Shivani Chatterjee" providerId="None"/>
      </p:ext>
    </p:extLst>
  </p:cmAuthor>
  <p:cmAuthor id="2" name="Shivani Chatterjee" initials="SC [2]" lastIdx="22" clrIdx="1">
    <p:extLst>
      <p:ext uri="{19B8F6BF-5375-455C-9EA6-DF929625EA0E}">
        <p15:presenceInfo xmlns:p15="http://schemas.microsoft.com/office/powerpoint/2012/main" userId="S::shivani.chatterjee@safalpartners.com::dc05b6fb-235f-43d5-9b1a-557ac5457564" providerId="AD"/>
      </p:ext>
    </p:extLst>
  </p:cmAuthor>
  <p:cmAuthor id="3" name="Adrianna Chrestopoulos" initials="AC" lastIdx="3" clrIdx="2">
    <p:extLst>
      <p:ext uri="{19B8F6BF-5375-455C-9EA6-DF929625EA0E}">
        <p15:presenceInfo xmlns:p15="http://schemas.microsoft.com/office/powerpoint/2012/main" userId="Adrianna Chrestopoulos" providerId="None"/>
      </p:ext>
    </p:extLst>
  </p:cmAuthor>
  <p:cmAuthor id="4" name="Sabeen Arianpour" initials="SA" lastIdx="1" clrIdx="3">
    <p:extLst>
      <p:ext uri="{19B8F6BF-5375-455C-9EA6-DF929625EA0E}">
        <p15:presenceInfo xmlns:p15="http://schemas.microsoft.com/office/powerpoint/2012/main" userId="S::sabeen.arianpour@safalpartners.com::9c499e9f-3df2-4c8b-ad74-1779d6d7c0f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5F"/>
    <a:srgbClr val="00589A"/>
    <a:srgbClr val="FB9405"/>
    <a:srgbClr val="CCB733"/>
    <a:srgbClr val="E1D361"/>
    <a:srgbClr val="EDE39D"/>
    <a:srgbClr val="E8DC84"/>
    <a:srgbClr val="AF994A"/>
    <a:srgbClr val="000092"/>
    <a:srgbClr val="B507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32E4B6-0B75-432A-ADAF-1CA0CB9444E0}" v="54" dt="2022-12-01T22:08:07.1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889" autoAdjust="0"/>
  </p:normalViewPr>
  <p:slideViewPr>
    <p:cSldViewPr snapToGrid="0">
      <p:cViewPr varScale="1">
        <p:scale>
          <a:sx n="101" d="100"/>
          <a:sy n="101" d="100"/>
        </p:scale>
        <p:origin x="13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8/10/relationships/authors" Target="authors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59249758729902"/>
          <c:y val="4.1595506925094908E-2"/>
          <c:w val="0.71079274220880906"/>
          <c:h val="0.7103473561334290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rgbClr val="00548D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EA3-4B20-A9C2-981544A2CE0E}"/>
              </c:ext>
            </c:extLst>
          </c:dPt>
          <c:dPt>
            <c:idx val="1"/>
            <c:bubble3D val="0"/>
            <c:spPr>
              <a:solidFill>
                <a:srgbClr val="CD426A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EA3-4B20-A9C2-981544A2CE0E}"/>
              </c:ext>
            </c:extLst>
          </c:dPt>
          <c:dPt>
            <c:idx val="2"/>
            <c:bubble3D val="0"/>
            <c:spPr>
              <a:solidFill>
                <a:srgbClr val="006C2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AEA3-4B20-A9C2-981544A2CE0E}"/>
              </c:ext>
            </c:extLst>
          </c:dPt>
          <c:dPt>
            <c:idx val="3"/>
            <c:bubble3D val="0"/>
            <c:spPr>
              <a:solidFill>
                <a:srgbClr val="F9AB1D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AEA3-4B20-A9C2-981544A2CE0E}"/>
              </c:ext>
            </c:extLst>
          </c:dPt>
          <c:dPt>
            <c:idx val="4"/>
            <c:bubble3D val="0"/>
            <c:spPr>
              <a:solidFill>
                <a:srgbClr val="31B1ED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AEA3-4B20-A9C2-981544A2CE0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Extremely likely</c:v>
                </c:pt>
                <c:pt idx="1">
                  <c:v>Very likely </c:v>
                </c:pt>
                <c:pt idx="2">
                  <c:v>Moderately likely</c:v>
                </c:pt>
                <c:pt idx="3">
                  <c:v>Slightly likely</c:v>
                </c:pt>
                <c:pt idx="4">
                  <c:v>Not likely at all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6</c:v>
                </c:pt>
                <c:pt idx="1">
                  <c:v>0.34</c:v>
                </c:pt>
                <c:pt idx="2">
                  <c:v>0.18</c:v>
                </c:pt>
                <c:pt idx="3">
                  <c:v>0.06</c:v>
                </c:pt>
                <c:pt idx="4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A3-4B20-A9C2-981544A2CE0E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17041159743814"/>
          <c:y val="0.89435726085549583"/>
          <c:w val="0.7823833010204051"/>
          <c:h val="8.58744265386193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396535194207362E-2"/>
          <c:y val="0"/>
          <c:w val="0.95710635214395312"/>
          <c:h val="0.876588107067671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6C24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Co-Ops</c:v>
                </c:pt>
                <c:pt idx="1">
                  <c:v>Interns</c:v>
                </c:pt>
                <c:pt idx="2">
                  <c:v>Apprentices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 formatCode="0%">
                  <c:v>0.36499999999999999</c:v>
                </c:pt>
                <c:pt idx="1">
                  <c:v>0.55500000000000005</c:v>
                </c:pt>
                <c:pt idx="2">
                  <c:v>0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22-4DA0-B193-0C99BE4CDD4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196740336"/>
        <c:axId val="196741984"/>
      </c:barChart>
      <c:catAx>
        <c:axId val="19674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741984"/>
        <c:crosses val="autoZero"/>
        <c:auto val="1"/>
        <c:lblAlgn val="ctr"/>
        <c:lblOffset val="100"/>
        <c:noMultiLvlLbl val="0"/>
      </c:catAx>
      <c:valAx>
        <c:axId val="19674198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674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202985016951069E-2"/>
          <c:y val="2.2834300039074194E-2"/>
          <c:w val="0.95979695881404192"/>
          <c:h val="0.873360298183765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31B1ED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-Op</c:v>
                </c:pt>
                <c:pt idx="1">
                  <c:v>Interns</c:v>
                </c:pt>
                <c:pt idx="2">
                  <c:v>Apprentice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9</c:v>
                </c:pt>
                <c:pt idx="1">
                  <c:v>0.62</c:v>
                </c:pt>
                <c:pt idx="2">
                  <c:v>0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D3-4A21-A9B2-A9DD610DAD6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415869744"/>
        <c:axId val="405858256"/>
      </c:barChart>
      <c:catAx>
        <c:axId val="41586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5858256"/>
        <c:crosses val="autoZero"/>
        <c:auto val="1"/>
        <c:lblAlgn val="ctr"/>
        <c:lblOffset val="100"/>
        <c:noMultiLvlLbl val="0"/>
      </c:catAx>
      <c:valAx>
        <c:axId val="4058582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15869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6B8D79D-787D-423F-B243-56C9D4E19FB2}" type="datetimeFigureOut">
              <a:rPr lang="en-US" smtClean="0"/>
              <a:t>12/1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801EDA0-9D9F-43FC-AAC8-169467B76D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947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3698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 panose="020F0502020204030204"/>
              </a:rPr>
              <a:t>MC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In a tight labor market more employees want career pathways, not jobs – firms that offer training are viewed as "employers of choice"</a:t>
            </a:r>
            <a:endParaRPr lang="en-US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>
                <a:cs typeface="Calibri"/>
              </a:rPr>
              <a:t>Apprenticeship offers unique resources including potential tax credits, wage reimbursement, training cost offsets and supportive services</a:t>
            </a:r>
          </a:p>
          <a:p>
            <a:pPr marL="171450" indent="-171450">
              <a:buFont typeface="Arial"/>
              <a:buChar char="•"/>
            </a:pPr>
            <a:r>
              <a:rPr lang="en-US">
                <a:cs typeface="Calibri"/>
              </a:rPr>
              <a:t>Apprenticeship has proven to create more diverse workforces</a:t>
            </a:r>
          </a:p>
          <a:p>
            <a:pPr marL="171450" indent="-171450">
              <a:buFont typeface="Arial"/>
              <a:buChar char="•"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568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r>
              <a:rPr lang="en-US"/>
              <a:t>MC</a:t>
            </a:r>
          </a:p>
          <a:p>
            <a:pPr marL="171450" indent="-171450">
              <a:buFont typeface="Arial"/>
              <a:buChar char="•"/>
            </a:pPr>
            <a:r>
              <a:rPr lang="en-US"/>
              <a:t>Pts in referred hires: 94% of apprentices become regular full-time employees upon program completion compared to 55.5% for interns and 36.5% for co-op participants</a:t>
            </a:r>
          </a:p>
          <a:p>
            <a:pPr marL="171450" indent="-171450">
              <a:buFont typeface="Arial"/>
              <a:buChar char="•"/>
            </a:pPr>
            <a:endParaRPr lang="en-US"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/>
              <a:t>Loyal workforce: 91% of apprentices remain employed after their first year compared to only 62% of interns and 49% of co-op participants</a:t>
            </a:r>
            <a:endParaRPr lang="en-US">
              <a:cs typeface="Calibri"/>
            </a:endParaRPr>
          </a:p>
          <a:p>
            <a:pPr lvl="1" indent="-171450">
              <a:buFont typeface="Arial"/>
              <a:buChar char="•"/>
            </a:pPr>
            <a:r>
              <a:rPr lang="en-US" b="1"/>
              <a:t>That result lowers the cost of churn </a:t>
            </a:r>
            <a:r>
              <a:rPr lang="en-US"/>
              <a:t>(on average this costs employers 100 – 150% of professional position salary to replace w/in first 12 months)</a:t>
            </a:r>
            <a:r>
              <a:rPr lang="en-US" b="1"/>
              <a:t>, increases productivity, generates positive ROI </a:t>
            </a:r>
            <a:r>
              <a:rPr lang="en-US"/>
              <a:t>(on average employers report $1.47 ROI for every $1 invested)</a:t>
            </a:r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/>
          </a:p>
          <a:p>
            <a:r>
              <a:rPr lang="en-US"/>
              <a:t> 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8861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K•  </a:t>
            </a:r>
          </a:p>
          <a:p>
            <a:r>
              <a:rPr lang="en-US"/>
              <a:t>    Most time-tested, proven method of developing skilled talent</a:t>
            </a:r>
          </a:p>
          <a:p>
            <a:r>
              <a:rPr lang="en-US"/>
              <a:t>•      It is NOT – only for skilled trade roles, unions, or entry-level jobs</a:t>
            </a:r>
            <a:endParaRPr lang="en-US">
              <a:cs typeface="Calibri"/>
            </a:endParaRPr>
          </a:p>
          <a:p>
            <a:r>
              <a:rPr lang="en-US"/>
              <a:t>•      It IS – for businesses of all sizes in all sectors and any occupation that requires approximately at least a year of training to be considered professional</a:t>
            </a:r>
            <a:endParaRPr lang="en-US">
              <a:cs typeface="Calibri"/>
            </a:endParaRPr>
          </a:p>
          <a:p>
            <a:r>
              <a:rPr lang="en-US"/>
              <a:t>•      New tool for most businesses to add to their human capital strategy – need to establish new partnerships to recruit, train, and retain new talent</a:t>
            </a:r>
            <a:endParaRPr lang="en-US">
              <a:cs typeface="Calibri"/>
            </a:endParaRPr>
          </a:p>
          <a:p>
            <a:r>
              <a:rPr lang="en-US"/>
              <a:t>•     A WIOA-aligned strategy across all titles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7200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K•  </a:t>
            </a:r>
          </a:p>
          <a:p>
            <a:r>
              <a:rPr lang="en-US"/>
              <a:t>    Most time-tested, proven method of developing skilled talent</a:t>
            </a:r>
          </a:p>
          <a:p>
            <a:r>
              <a:rPr lang="en-US"/>
              <a:t>•      It is NOT – only for skilled trade roles, unions, or entry-level jobs</a:t>
            </a:r>
            <a:endParaRPr lang="en-US">
              <a:cs typeface="Calibri"/>
            </a:endParaRPr>
          </a:p>
          <a:p>
            <a:r>
              <a:rPr lang="en-US"/>
              <a:t>•      It IS – for businesses of all sizes in all sectors and any occupation that requires approximately at least a year of training to be considered professional</a:t>
            </a:r>
            <a:endParaRPr lang="en-US">
              <a:cs typeface="Calibri"/>
            </a:endParaRPr>
          </a:p>
          <a:p>
            <a:r>
              <a:rPr lang="en-US"/>
              <a:t>•      New tool for most businesses to add to their human capital strategy – need to establish new partnerships to recruit, train, and retain new talent</a:t>
            </a:r>
            <a:endParaRPr lang="en-US">
              <a:cs typeface="Calibri"/>
            </a:endParaRPr>
          </a:p>
          <a:p>
            <a:r>
              <a:rPr lang="en-US"/>
              <a:t>•     A WIOA-aligned strategy across all titles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7808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885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 and NK: https://drive.google.com/file/d/11h-EbGI2AvFrJlWPV-LdKUXqKMrBlGCC/view?usp=sharing</a:t>
            </a:r>
          </a:p>
          <a:p>
            <a:r>
              <a:rPr lang="en-US">
                <a:cs typeface="Calibri"/>
              </a:rPr>
              <a:t>Addresses 5 hallmarks of high-quality pre-apprenticeship:</a:t>
            </a:r>
            <a:endParaRPr lang="en-US"/>
          </a:p>
          <a:p>
            <a:r>
              <a:rPr lang="en-US">
                <a:cs typeface="Calibri"/>
              </a:rPr>
              <a:t>1. Partner with RA sponsor (could be business/college/intermediary)</a:t>
            </a:r>
          </a:p>
          <a:p>
            <a:r>
              <a:rPr lang="en-US">
                <a:cs typeface="Calibri"/>
              </a:rPr>
              <a:t>2. Include directly relevant, industry-informed training and education (I.e. courses in soft skills, technical instruction)</a:t>
            </a:r>
          </a:p>
          <a:p>
            <a:r>
              <a:rPr lang="en-US">
                <a:cs typeface="Calibri"/>
              </a:rPr>
              <a:t>3. Implement hands-on training for pre-apprentice program</a:t>
            </a:r>
          </a:p>
          <a:p>
            <a:r>
              <a:rPr lang="en-US">
                <a:cs typeface="Calibri"/>
              </a:rPr>
              <a:t>4. Align with industry credentials</a:t>
            </a:r>
          </a:p>
          <a:p>
            <a:r>
              <a:rPr lang="en-US">
                <a:cs typeface="Calibri"/>
              </a:rPr>
              <a:t>5. Incorporate opportunity for pre-apprentices to access supportive services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5968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 and NK: https://drive.google.com/file/d/11h-EbGI2AvFrJlWPV-LdKUXqKMrBlGCC/view?usp=sharing</a:t>
            </a:r>
          </a:p>
          <a:p>
            <a:r>
              <a:rPr lang="en-US">
                <a:cs typeface="Calibri"/>
              </a:rPr>
              <a:t>Addresses 5 hallmarks of high-quality pre-apprenticeship:</a:t>
            </a:r>
            <a:endParaRPr lang="en-US"/>
          </a:p>
          <a:p>
            <a:r>
              <a:rPr lang="en-US">
                <a:cs typeface="Calibri"/>
              </a:rPr>
              <a:t>1. Partner with RA sponsor (could be business/college/intermediary)</a:t>
            </a:r>
          </a:p>
          <a:p>
            <a:r>
              <a:rPr lang="en-US">
                <a:cs typeface="Calibri"/>
              </a:rPr>
              <a:t>2. Include directly relevant, industry-informed training and education (I.e. courses in soft skills, technical instruction)</a:t>
            </a:r>
          </a:p>
          <a:p>
            <a:r>
              <a:rPr lang="en-US">
                <a:cs typeface="Calibri"/>
              </a:rPr>
              <a:t>3. Implement hands-on training for pre-apprentice program</a:t>
            </a:r>
          </a:p>
          <a:p>
            <a:r>
              <a:rPr lang="en-US">
                <a:cs typeface="Calibri"/>
              </a:rPr>
              <a:t>4. Align with industry credentials</a:t>
            </a:r>
          </a:p>
          <a:p>
            <a:r>
              <a:rPr lang="en-US">
                <a:cs typeface="Calibri"/>
              </a:rPr>
              <a:t>5. Incorporate opportunity for pre-apprentices to access supportive services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9248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 and NK: https://drive.google.com/file/d/11h-EbGI2AvFrJlWPV-LdKUXqKMrBlGCC/view?usp=sharing</a:t>
            </a:r>
          </a:p>
          <a:p>
            <a:r>
              <a:rPr lang="en-US">
                <a:cs typeface="Calibri"/>
              </a:rPr>
              <a:t>Addresses 5 hallmarks of high-quality pre-apprenticeship:</a:t>
            </a:r>
            <a:endParaRPr lang="en-US"/>
          </a:p>
          <a:p>
            <a:r>
              <a:rPr lang="en-US">
                <a:cs typeface="Calibri"/>
              </a:rPr>
              <a:t>1. Partner with RA sponsor (could be business/college/intermediary)</a:t>
            </a:r>
          </a:p>
          <a:p>
            <a:r>
              <a:rPr lang="en-US">
                <a:cs typeface="Calibri"/>
              </a:rPr>
              <a:t>2. Include directly relevant, industry-informed training and education (I.e. courses in soft skills, technical instruction)</a:t>
            </a:r>
          </a:p>
          <a:p>
            <a:r>
              <a:rPr lang="en-US">
                <a:cs typeface="Calibri"/>
              </a:rPr>
              <a:t>3. Implement hands-on training for pre-apprentice program</a:t>
            </a:r>
          </a:p>
          <a:p>
            <a:r>
              <a:rPr lang="en-US">
                <a:cs typeface="Calibri"/>
              </a:rPr>
              <a:t>4. Align with industry credentials</a:t>
            </a:r>
          </a:p>
          <a:p>
            <a:r>
              <a:rPr lang="en-US">
                <a:cs typeface="Calibri"/>
              </a:rPr>
              <a:t>5. Incorporate opportunity for pre-apprentices to access supportive services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463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 and NK: https://drive.google.com/file/d/11h-EbGI2AvFrJlWPV-LdKUXqKMrBlGCC/view?usp=sharing</a:t>
            </a:r>
          </a:p>
          <a:p>
            <a:r>
              <a:rPr lang="en-US">
                <a:cs typeface="Calibri"/>
              </a:rPr>
              <a:t>Addresses 5 hallmarks of high-quality pre-apprenticeship:</a:t>
            </a:r>
            <a:endParaRPr lang="en-US"/>
          </a:p>
          <a:p>
            <a:r>
              <a:rPr lang="en-US">
                <a:cs typeface="Calibri"/>
              </a:rPr>
              <a:t>1. Partner with RA sponsor (could be business/college/intermediary)</a:t>
            </a:r>
          </a:p>
          <a:p>
            <a:r>
              <a:rPr lang="en-US">
                <a:cs typeface="Calibri"/>
              </a:rPr>
              <a:t>2. Include directly relevant, industry-informed training and education (I.e. courses in soft skills, technical instruction)</a:t>
            </a:r>
          </a:p>
          <a:p>
            <a:r>
              <a:rPr lang="en-US">
                <a:cs typeface="Calibri"/>
              </a:rPr>
              <a:t>3. Implement hands-on training for pre-apprentice program</a:t>
            </a:r>
          </a:p>
          <a:p>
            <a:r>
              <a:rPr lang="en-US">
                <a:cs typeface="Calibri"/>
              </a:rPr>
              <a:t>4. Align with industry credentials</a:t>
            </a:r>
          </a:p>
          <a:p>
            <a:r>
              <a:rPr lang="en-US">
                <a:cs typeface="Calibri"/>
              </a:rPr>
              <a:t>5. Incorporate opportunity for pre-apprentices to access supportive services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7384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 and NK: https://drive.google.com/file/d/11h-EbGI2AvFrJlWPV-LdKUXqKMrBlGCC/view?usp=sharing</a:t>
            </a:r>
          </a:p>
          <a:p>
            <a:r>
              <a:rPr lang="en-US">
                <a:cs typeface="Calibri"/>
              </a:rPr>
              <a:t>Addresses 5 hallmarks of high-quality pre-apprenticeship:</a:t>
            </a:r>
            <a:endParaRPr lang="en-US"/>
          </a:p>
          <a:p>
            <a:r>
              <a:rPr lang="en-US">
                <a:cs typeface="Calibri"/>
              </a:rPr>
              <a:t>1. Partner with RA sponsor (could be business/college/intermediary)</a:t>
            </a:r>
          </a:p>
          <a:p>
            <a:r>
              <a:rPr lang="en-US">
                <a:cs typeface="Calibri"/>
              </a:rPr>
              <a:t>2. Include directly relevant, industry-informed training and education (I.e. courses in soft skills, technical instruction)</a:t>
            </a:r>
          </a:p>
          <a:p>
            <a:r>
              <a:rPr lang="en-US">
                <a:cs typeface="Calibri"/>
              </a:rPr>
              <a:t>3. Implement hands-on training for pre-apprentice program</a:t>
            </a:r>
          </a:p>
          <a:p>
            <a:r>
              <a:rPr lang="en-US">
                <a:cs typeface="Calibri"/>
              </a:rPr>
              <a:t>4. Align with industry credentials</a:t>
            </a:r>
          </a:p>
          <a:p>
            <a:r>
              <a:rPr lang="en-US">
                <a:cs typeface="Calibri"/>
              </a:rPr>
              <a:t>5. Incorporate opportunity for pre-apprentices to access supportive services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40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K</a:t>
            </a:r>
            <a:endParaRPr lang="en-US"/>
          </a:p>
          <a:p>
            <a:r>
              <a:rPr lang="en-US"/>
              <a:t>  Center represents first-ever investment by DOL to create and deliver TA specifically focused on shrinking the gap between apprenticeship and our nation’s workforce and education syst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1255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 and NK: https://drive.google.com/file/d/11h-EbGI2AvFrJlWPV-LdKUXqKMrBlGCC/view?usp=sharing</a:t>
            </a:r>
          </a:p>
          <a:p>
            <a:r>
              <a:rPr lang="en-US">
                <a:cs typeface="Calibri"/>
              </a:rPr>
              <a:t>Addresses 5 hallmarks of high-quality pre-apprenticeship:</a:t>
            </a:r>
            <a:endParaRPr lang="en-US"/>
          </a:p>
          <a:p>
            <a:r>
              <a:rPr lang="en-US">
                <a:cs typeface="Calibri"/>
              </a:rPr>
              <a:t>1. Partner with RA sponsor (could be business/college/intermediary)</a:t>
            </a:r>
          </a:p>
          <a:p>
            <a:r>
              <a:rPr lang="en-US">
                <a:cs typeface="Calibri"/>
              </a:rPr>
              <a:t>2. Include directly relevant, industry-informed training and education (I.e. courses in soft skills, technical instruction)</a:t>
            </a:r>
          </a:p>
          <a:p>
            <a:r>
              <a:rPr lang="en-US">
                <a:cs typeface="Calibri"/>
              </a:rPr>
              <a:t>3. Implement hands-on training for pre-apprentice program</a:t>
            </a:r>
          </a:p>
          <a:p>
            <a:r>
              <a:rPr lang="en-US">
                <a:cs typeface="Calibri"/>
              </a:rPr>
              <a:t>4. Align with industry credentials</a:t>
            </a:r>
          </a:p>
          <a:p>
            <a:r>
              <a:rPr lang="en-US">
                <a:cs typeface="Calibri"/>
              </a:rPr>
              <a:t>5. Incorporate opportunity for pre-apprentices to access supportive services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2626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 and NK: https://drive.google.com/file/d/11h-EbGI2AvFrJlWPV-LdKUXqKMrBlGCC/view?usp=sharing</a:t>
            </a:r>
          </a:p>
          <a:p>
            <a:r>
              <a:rPr lang="en-US">
                <a:cs typeface="Calibri"/>
              </a:rPr>
              <a:t>Addresses 5 hallmarks of high-quality pre-apprenticeship:</a:t>
            </a:r>
            <a:endParaRPr lang="en-US"/>
          </a:p>
          <a:p>
            <a:r>
              <a:rPr lang="en-US">
                <a:cs typeface="Calibri"/>
              </a:rPr>
              <a:t>1. Partner with RA sponsor (could be business/college/intermediary)</a:t>
            </a:r>
          </a:p>
          <a:p>
            <a:r>
              <a:rPr lang="en-US">
                <a:cs typeface="Calibri"/>
              </a:rPr>
              <a:t>2. Include directly relevant, industry-informed training and education (I.e. courses in soft skills, technical instruction)</a:t>
            </a:r>
          </a:p>
          <a:p>
            <a:r>
              <a:rPr lang="en-US">
                <a:cs typeface="Calibri"/>
              </a:rPr>
              <a:t>3. Implement hands-on training for pre-apprentice program</a:t>
            </a:r>
          </a:p>
          <a:p>
            <a:r>
              <a:rPr lang="en-US">
                <a:cs typeface="Calibri"/>
              </a:rPr>
              <a:t>4. Align with industry credentials</a:t>
            </a:r>
          </a:p>
          <a:p>
            <a:r>
              <a:rPr lang="en-US">
                <a:cs typeface="Calibri"/>
              </a:rPr>
              <a:t>5. Incorporate opportunity for pre-apprentices to access supportive services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2135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 and NK: https://drive.google.com/file/d/11h-EbGI2AvFrJlWPV-LdKUXqKMrBlGCC/view?usp=sharing</a:t>
            </a:r>
          </a:p>
          <a:p>
            <a:r>
              <a:rPr lang="en-US">
                <a:cs typeface="Calibri"/>
              </a:rPr>
              <a:t>Addresses 5 hallmarks of high-quality pre-apprenticeship:</a:t>
            </a:r>
            <a:endParaRPr lang="en-US"/>
          </a:p>
          <a:p>
            <a:r>
              <a:rPr lang="en-US">
                <a:cs typeface="Calibri"/>
              </a:rPr>
              <a:t>1. Partner with RA sponsor (could be business/college/intermediary)</a:t>
            </a:r>
          </a:p>
          <a:p>
            <a:r>
              <a:rPr lang="en-US">
                <a:cs typeface="Calibri"/>
              </a:rPr>
              <a:t>2. Include directly relevant, industry-informed training and education (I.e. courses in soft skills, technical instruction)</a:t>
            </a:r>
          </a:p>
          <a:p>
            <a:r>
              <a:rPr lang="en-US">
                <a:cs typeface="Calibri"/>
              </a:rPr>
              <a:t>3. Implement hands-on training for pre-apprentice program</a:t>
            </a:r>
          </a:p>
          <a:p>
            <a:r>
              <a:rPr lang="en-US">
                <a:cs typeface="Calibri"/>
              </a:rPr>
              <a:t>4. Align with industry credentials</a:t>
            </a:r>
          </a:p>
          <a:p>
            <a:r>
              <a:rPr lang="en-US">
                <a:cs typeface="Calibri"/>
              </a:rPr>
              <a:t>5. Incorporate opportunity for pre-apprentices to access supportive services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0992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29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916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how of hands—Fist to Five career apprenticeship</a:t>
            </a:r>
          </a:p>
          <a:p>
            <a:r>
              <a:rPr lang="en-US"/>
              <a:t>RA knowledge-Group about 60% Exceptional, Very Good, Good, </a:t>
            </a:r>
          </a:p>
          <a:p>
            <a:r>
              <a:rPr lang="en-US"/>
              <a:t>Local and State Plans-48%</a:t>
            </a:r>
          </a:p>
          <a:p>
            <a:r>
              <a:rPr lang="en-US"/>
              <a:t>Knowledge—around 52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323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K•  </a:t>
            </a:r>
          </a:p>
          <a:p>
            <a:r>
              <a:rPr lang="en-US"/>
              <a:t>    Most time-tested, proven method of developing skilled talent</a:t>
            </a:r>
          </a:p>
          <a:p>
            <a:r>
              <a:rPr lang="en-US"/>
              <a:t>•      It is NOT – only for skilled trade roles, unions, or entry-level jobs</a:t>
            </a:r>
            <a:endParaRPr lang="en-US">
              <a:cs typeface="Calibri"/>
            </a:endParaRPr>
          </a:p>
          <a:p>
            <a:r>
              <a:rPr lang="en-US"/>
              <a:t>•      It IS – for businesses of all sizes in all sectors and any occupation that requires approximately at least a year of training to be considered professional</a:t>
            </a:r>
            <a:endParaRPr lang="en-US">
              <a:cs typeface="Calibri"/>
            </a:endParaRPr>
          </a:p>
          <a:p>
            <a:r>
              <a:rPr lang="en-US"/>
              <a:t>•      New tool for most businesses to add to their human capital strategy – need to establish new partnerships to recruit, train, and retain new talent</a:t>
            </a:r>
            <a:endParaRPr lang="en-US">
              <a:cs typeface="Calibri"/>
            </a:endParaRPr>
          </a:p>
          <a:p>
            <a:r>
              <a:rPr lang="en-US"/>
              <a:t>•     A WIOA-aligned strategy across all titles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9423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</a:t>
            </a:r>
          </a:p>
          <a:p>
            <a:r>
              <a:rPr lang="en-US"/>
              <a:t>Undergirding all RA programs is the fact that to be effective they </a:t>
            </a:r>
            <a:r>
              <a:rPr lang="en-US" b="1" u="sng"/>
              <a:t>must be</a:t>
            </a:r>
            <a:r>
              <a:rPr lang="en-US"/>
              <a:t> business-driven</a:t>
            </a:r>
          </a:p>
          <a:p>
            <a:endParaRPr lang="en-US"/>
          </a:p>
          <a:p>
            <a:r>
              <a:rPr lang="en-US"/>
              <a:t>•      4 core components:</a:t>
            </a:r>
            <a:endParaRPr lang="en-US">
              <a:cs typeface="Calibri" panose="020F0502020204030204"/>
            </a:endParaRPr>
          </a:p>
          <a:p>
            <a:endParaRPr lang="en-US"/>
          </a:p>
          <a:p>
            <a:r>
              <a:rPr lang="en-US" b="1"/>
              <a:t>1. OJT</a:t>
            </a:r>
            <a:r>
              <a:rPr lang="en-US"/>
              <a:t> – structured, aligned with industry-validated KSAs for occupation; can be time-based (i.e. 1-4 years), competency-based or a hybrid</a:t>
            </a:r>
            <a:endParaRPr lang="en-US">
              <a:cs typeface="Calibri"/>
            </a:endParaRPr>
          </a:p>
          <a:p>
            <a:endParaRPr lang="en-US" b="1"/>
          </a:p>
          <a:p>
            <a:r>
              <a:rPr lang="en-US" b="1"/>
              <a:t>2. Related Instruction</a:t>
            </a:r>
            <a:r>
              <a:rPr lang="en-US"/>
              <a:t> – minimum of 144 contact hours; typically includes both technical (occupational-specific) and “soft” skills; can be provided by education/training partner (i.e. ABE, CTE program; high school; 2- or 4-year college; in-house instructors, etc.)</a:t>
            </a:r>
            <a:endParaRPr lang="en-US">
              <a:cs typeface="Calibri"/>
            </a:endParaRPr>
          </a:p>
          <a:p>
            <a:endParaRPr lang="en-US" b="1"/>
          </a:p>
          <a:p>
            <a:r>
              <a:rPr lang="en-US" b="1"/>
              <a:t>3. Wage progression</a:t>
            </a:r>
            <a:r>
              <a:rPr lang="en-US"/>
              <a:t> – employers decide upon pay rates for apprentices (must be paid position); include opportunity(</a:t>
            </a:r>
            <a:r>
              <a:rPr lang="en-US" err="1"/>
              <a:t>ies</a:t>
            </a:r>
            <a:r>
              <a:rPr lang="en-US"/>
              <a:t>) for 1+ pay bumps during program to encourage retention and completion</a:t>
            </a:r>
            <a:endParaRPr lang="en-US">
              <a:cs typeface="Calibri"/>
            </a:endParaRPr>
          </a:p>
          <a:p>
            <a:endParaRPr lang="en-US" b="1"/>
          </a:p>
          <a:p>
            <a:r>
              <a:rPr lang="en-US" b="1"/>
              <a:t>4. National credential(s)</a:t>
            </a:r>
            <a:r>
              <a:rPr lang="en-US"/>
              <a:t> – all RA program completers earn a USDOL certificate of completion indicating they are a credentialed professional for their occupation and most programs typically embed or align with multiple industry valued certifications.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9381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N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7929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9367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C</a:t>
            </a:r>
          </a:p>
          <a:p>
            <a:r>
              <a:rPr lang="en-US"/>
              <a:t>  Apprenticeship has gone mainstream</a:t>
            </a:r>
            <a:endParaRPr lang="en-US">
              <a:cs typeface="Calibri"/>
            </a:endParaRPr>
          </a:p>
          <a:p>
            <a:r>
              <a:rPr lang="en-US"/>
              <a:t>•      We have built upon the solid foundation laid by skilled trades to modernize and scale to new, emerging and high-growth industries and occupations</a:t>
            </a:r>
            <a:endParaRPr lang="en-US">
              <a:cs typeface="Calibri"/>
            </a:endParaRPr>
          </a:p>
          <a:p>
            <a:r>
              <a:rPr lang="en-US"/>
              <a:t>•      RA has grown in popularity as employers realize they need structured plans to expand the resources of talent, train new hires and upskill incumbent workers, and fill quickly needed new roles</a:t>
            </a:r>
            <a:endParaRPr lang="en-US">
              <a:cs typeface="Calibri"/>
            </a:endParaRPr>
          </a:p>
          <a:p>
            <a:r>
              <a:rPr lang="en-US"/>
              <a:t>•      In 2020 alone, more than 3100 new apprenticeship programs were established nationwide; representing a growth of 73% in a little over 10 years.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707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570017"/>
            <a:ext cx="9144000" cy="93347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72811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396942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1715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1715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48395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14170"/>
            <a:ext cx="5157787" cy="66984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284017"/>
            <a:ext cx="5157787" cy="3130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14170"/>
            <a:ext cx="5183188" cy="6698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284017"/>
            <a:ext cx="5183188" cy="3130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657850"/>
            <a:ext cx="12192000" cy="733425"/>
          </a:xfrm>
          <a:solidFill>
            <a:schemeClr val="accent1">
              <a:lumMod val="75000"/>
            </a:schemeClr>
          </a:solidFill>
        </p:spPr>
        <p:txBody>
          <a:bodyPr tIns="91440" bIns="91440"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01462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6086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65273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 marL="685800" indent="-228600">
              <a:buFontTx/>
              <a:buBlip>
                <a:blip r:embed="rId2"/>
              </a:buBlip>
              <a:defRPr sz="2800"/>
            </a:lvl2pPr>
            <a:lvl3pPr marL="1143000" indent="-228600">
              <a:buFontTx/>
              <a:buBlip>
                <a:blip r:embed="rId3"/>
              </a:buBlip>
              <a:defRPr sz="2400"/>
            </a:lvl3pPr>
            <a:lvl4pPr marL="1600200" indent="-228600">
              <a:buFontTx/>
              <a:buBlip>
                <a:blip r:embed="rId4"/>
              </a:buBlip>
              <a:defRPr sz="2000"/>
            </a:lvl4pPr>
            <a:lvl5pPr marL="2057400" indent="-228600">
              <a:buFontTx/>
              <a:buBlip>
                <a:blip r:embed="rId4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00292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839788" y="457200"/>
            <a:ext cx="2743200" cy="5840660"/>
          </a:xfrm>
          <a:prstGeom prst="rect">
            <a:avLst/>
          </a:prstGeom>
          <a:solidFill>
            <a:schemeClr val="bg2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2743200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7680" y="457200"/>
            <a:ext cx="7057708" cy="5840659"/>
          </a:xfrm>
        </p:spPr>
        <p:txBody>
          <a:bodyPr/>
          <a:lstStyle>
            <a:lvl1pPr>
              <a:defRPr sz="3200"/>
            </a:lvl1pPr>
            <a:lvl2pPr marL="685800" indent="-228600">
              <a:buFontTx/>
              <a:buBlip>
                <a:blip r:embed="rId2"/>
              </a:buBlip>
              <a:defRPr sz="2800"/>
            </a:lvl2pPr>
            <a:lvl3pPr marL="1143000" indent="-228600">
              <a:buFontTx/>
              <a:buBlip>
                <a:blip r:embed="rId3"/>
              </a:buBlip>
              <a:defRPr sz="2400"/>
            </a:lvl3pPr>
            <a:lvl4pPr marL="1600200" indent="-228600">
              <a:buFontTx/>
              <a:buBlip>
                <a:blip r:embed="rId4"/>
              </a:buBlip>
              <a:defRPr sz="2000"/>
            </a:lvl4pPr>
            <a:lvl5pPr marL="2057400" indent="-228600">
              <a:buFontTx/>
              <a:buBlip>
                <a:blip r:embed="rId4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2743200" cy="4240460"/>
          </a:xfrm>
        </p:spPr>
        <p:txBody>
          <a:bodyPr tIns="91440" bIns="9144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38165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0662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570017"/>
            <a:ext cx="9144000" cy="93347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72811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66480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794076"/>
            <a:ext cx="10515600" cy="4382886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2pPr>
            <a:lvl3pPr marL="1143000" indent="-228600">
              <a:buFontTx/>
              <a:buBlip>
                <a:blip r:embed="rId3"/>
              </a:buBlip>
              <a:defRPr/>
            </a:lvl3pPr>
            <a:lvl4pPr marL="1600200" indent="-228600">
              <a:buFontTx/>
              <a:buBlip>
                <a:blip r:embed="rId4"/>
              </a:buBlip>
              <a:defRPr/>
            </a:lvl4pPr>
            <a:lvl5pPr marL="2057400" indent="-228600">
              <a:buFontTx/>
              <a:buBlip>
                <a:blip r:embed="rId4"/>
              </a:buBlip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Helvetica Neue"/>
              </a:rPr>
              <a:t>Completed agenda topi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rent agenda topic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3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 3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4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5</a:t>
            </a: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2375514" y="1981518"/>
            <a:ext cx="4906646" cy="655002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Helvetica Neue"/>
              </a:rPr>
              <a:t>Completed agenda topic</a:t>
            </a:r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2375197" y="2849563"/>
            <a:ext cx="4906963" cy="1011680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>
                <a:solidFill>
                  <a:schemeClr val="accent1">
                    <a:lumMod val="50000"/>
                  </a:schemeClr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>
                <a:solidFill>
                  <a:schemeClr val="accent1">
                    <a:lumMod val="50000"/>
                  </a:schemeClr>
                </a:solidFill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rent agenda topic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2375515" y="4119880"/>
            <a:ext cx="4906963" cy="923925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3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 3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2375197" y="1393966"/>
            <a:ext cx="39124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latin typeface="+mj-lt"/>
              </a:rPr>
              <a:t>Format</a:t>
            </a:r>
            <a:r>
              <a:rPr lang="en-US" sz="2000" baseline="0">
                <a:latin typeface="+mj-lt"/>
              </a:rPr>
              <a:t> sample to copy and paste:</a:t>
            </a:r>
            <a:endParaRPr lang="en-US" sz="2000">
              <a:latin typeface="+mj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r>
              <a:rPr lang="en-US" sz="4400"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76853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-1" y="-2"/>
            <a:ext cx="3046359" cy="1589315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604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794076"/>
            <a:ext cx="10515600" cy="4382886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2pPr>
            <a:lvl3pPr marL="1143000" indent="-228600">
              <a:buFontTx/>
              <a:buBlip>
                <a:blip r:embed="rId3"/>
              </a:buBlip>
              <a:defRPr/>
            </a:lvl3pPr>
            <a:lvl4pPr marL="1600200" indent="-228600">
              <a:buFontTx/>
              <a:buBlip>
                <a:blip r:embed="rId4"/>
              </a:buBlip>
              <a:defRPr/>
            </a:lvl4pPr>
            <a:lvl5pPr marL="2057400" indent="-228600">
              <a:buFontTx/>
              <a:buBlip>
                <a:blip r:embed="rId4"/>
              </a:buBlip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Helvetica Neue"/>
              </a:rPr>
              <a:t>Completed agenda topi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rent agenda topic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3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 3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4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5</a:t>
            </a: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2375514" y="1981518"/>
            <a:ext cx="4906646" cy="655002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Helvetica Neue"/>
              </a:rPr>
              <a:t>Completed agenda topic</a:t>
            </a:r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2375197" y="2849563"/>
            <a:ext cx="4906963" cy="1011680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>
                <a:solidFill>
                  <a:schemeClr val="accent1">
                    <a:lumMod val="50000"/>
                  </a:schemeClr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>
                <a:solidFill>
                  <a:schemeClr val="accent1">
                    <a:lumMod val="50000"/>
                  </a:schemeClr>
                </a:solidFill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rent agenda topic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2375515" y="4119880"/>
            <a:ext cx="4906963" cy="923925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3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 3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2375197" y="1393966"/>
            <a:ext cx="39124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latin typeface="+mj-lt"/>
              </a:rPr>
              <a:t>Format</a:t>
            </a:r>
            <a:r>
              <a:rPr lang="en-US" sz="2000" baseline="0">
                <a:latin typeface="+mj-lt"/>
              </a:rPr>
              <a:t> sample to copy and paste:</a:t>
            </a:r>
            <a:endParaRPr lang="en-US" sz="2000">
              <a:latin typeface="+mj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r>
              <a:rPr lang="en-US" sz="4400"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129523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-1" y="-2"/>
            <a:ext cx="3046359" cy="1589315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rgbClr val="00005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288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6092825" y="-1"/>
            <a:ext cx="3046359" cy="1872343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6092825" y="646336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620877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9145641" y="1"/>
            <a:ext cx="3046359" cy="1872342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9145641" y="646337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979975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00200"/>
            <a:ext cx="10515600" cy="4576763"/>
          </a:xfrm>
        </p:spPr>
        <p:txBody>
          <a:bodyPr/>
          <a:lstStyle>
            <a:lvl2pPr marL="685800" indent="-228600">
              <a:buFontTx/>
              <a:buBlip>
                <a:blip r:embed="rId2"/>
              </a:buBlip>
              <a:defRPr/>
            </a:lvl2pPr>
            <a:lvl3pPr marL="1143000" indent="-228600">
              <a:buFontTx/>
              <a:buBlip>
                <a:blip r:embed="rId3"/>
              </a:buBlip>
              <a:defRPr/>
            </a:lvl3pPr>
            <a:lvl4pPr marL="1600200" indent="-228600">
              <a:buFontTx/>
              <a:buBlip>
                <a:blip r:embed="rId4"/>
              </a:buBlip>
              <a:defRPr/>
            </a:lvl4pPr>
            <a:lvl5pPr marL="2057400" indent="-228600">
              <a:buFontTx/>
              <a:buBlip>
                <a:blip r:embed="rId4"/>
              </a:buBlip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72414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00200"/>
            <a:ext cx="5181600" cy="45767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181600" cy="45767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56029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4"/>
          </p:nvPr>
        </p:nvSpPr>
        <p:spPr>
          <a:xfrm>
            <a:off x="4459224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5"/>
          </p:nvPr>
        </p:nvSpPr>
        <p:spPr>
          <a:xfrm>
            <a:off x="8080248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411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1715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1715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18010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14170"/>
            <a:ext cx="5157787" cy="66984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284017"/>
            <a:ext cx="5157787" cy="3130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14170"/>
            <a:ext cx="5183188" cy="6698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284017"/>
            <a:ext cx="5183188" cy="3130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657850"/>
            <a:ext cx="12192000" cy="733425"/>
          </a:xfrm>
          <a:solidFill>
            <a:schemeClr val="accent1">
              <a:lumMod val="75000"/>
            </a:schemeClr>
          </a:solidFill>
        </p:spPr>
        <p:txBody>
          <a:bodyPr tIns="91440" bIns="91440"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7994596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76920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84967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0" y="-10759"/>
            <a:ext cx="3046359" cy="1872343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46337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009854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 marL="685800" indent="-228600">
              <a:buFontTx/>
              <a:buBlip>
                <a:blip r:embed="rId2"/>
              </a:buBlip>
              <a:defRPr sz="2800"/>
            </a:lvl2pPr>
            <a:lvl3pPr marL="1143000" indent="-228600">
              <a:buFontTx/>
              <a:buBlip>
                <a:blip r:embed="rId3"/>
              </a:buBlip>
              <a:defRPr sz="2400"/>
            </a:lvl3pPr>
            <a:lvl4pPr marL="1600200" indent="-228600">
              <a:buFontTx/>
              <a:buBlip>
                <a:blip r:embed="rId4"/>
              </a:buBlip>
              <a:defRPr sz="2000"/>
            </a:lvl4pPr>
            <a:lvl5pPr marL="2057400" indent="-228600">
              <a:buFontTx/>
              <a:buBlip>
                <a:blip r:embed="rId4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97320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839788" y="457200"/>
            <a:ext cx="2743200" cy="5840660"/>
          </a:xfrm>
          <a:prstGeom prst="rect">
            <a:avLst/>
          </a:prstGeom>
          <a:solidFill>
            <a:schemeClr val="bg2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2743200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7680" y="457200"/>
            <a:ext cx="7057708" cy="5840659"/>
          </a:xfrm>
        </p:spPr>
        <p:txBody>
          <a:bodyPr/>
          <a:lstStyle>
            <a:lvl1pPr>
              <a:defRPr sz="3200"/>
            </a:lvl1pPr>
            <a:lvl2pPr marL="685800" indent="-228600">
              <a:buFontTx/>
              <a:buBlip>
                <a:blip r:embed="rId2"/>
              </a:buBlip>
              <a:defRPr sz="2800"/>
            </a:lvl2pPr>
            <a:lvl3pPr marL="1143000" indent="-228600">
              <a:buFontTx/>
              <a:buBlip>
                <a:blip r:embed="rId3"/>
              </a:buBlip>
              <a:defRPr sz="2400"/>
            </a:lvl3pPr>
            <a:lvl4pPr marL="1600200" indent="-228600">
              <a:buFontTx/>
              <a:buBlip>
                <a:blip r:embed="rId4"/>
              </a:buBlip>
              <a:defRPr sz="2000"/>
            </a:lvl4pPr>
            <a:lvl5pPr marL="2057400" indent="-228600">
              <a:buFontTx/>
              <a:buBlip>
                <a:blip r:embed="rId4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2743200" cy="4240460"/>
          </a:xfrm>
        </p:spPr>
        <p:txBody>
          <a:bodyPr tIns="91440" bIns="9144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70333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31488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5200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77463DD-1237-4FA8-B195-CBD238876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Write title here</a:t>
            </a:r>
            <a:endParaRPr lang="en-US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0E58D595-E919-4DC5-B7BC-954C39A678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41A08-3295-46F3-B846-787186529420}" type="datetime1">
              <a:rPr lang="en-US" smtClean="0"/>
              <a:t>12/16/2022</a:t>
            </a:fld>
            <a:endParaRPr lang="en-US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F3C28E3-54FC-4AC8-868C-79CEEDCCA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ADC6A627-F5F7-42F2-9FA7-5671168CC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555F45-05E1-4AB6-A090-051B6D14F1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0434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672667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3043291" y="-10758"/>
            <a:ext cx="3046359" cy="1872343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3055992" y="656573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E19AE8E-5E70-416A-B601-969DEE18CEC9}"/>
              </a:ext>
            </a:extLst>
          </p:cNvPr>
          <p:cNvSpPr/>
          <p:nvPr userDrawn="1"/>
        </p:nvSpPr>
        <p:spPr>
          <a:xfrm>
            <a:off x="387274" y="3654465"/>
            <a:ext cx="1420009" cy="446441"/>
          </a:xfrm>
          <a:prstGeom prst="rect">
            <a:avLst/>
          </a:prstGeom>
          <a:solidFill>
            <a:srgbClr val="000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0, 0, 9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D3D294-F639-4EE8-82FE-171200BBF2BC}"/>
              </a:ext>
            </a:extLst>
          </p:cNvPr>
          <p:cNvSpPr/>
          <p:nvPr userDrawn="1"/>
        </p:nvSpPr>
        <p:spPr>
          <a:xfrm>
            <a:off x="387273" y="4226414"/>
            <a:ext cx="1420009" cy="446441"/>
          </a:xfrm>
          <a:prstGeom prst="rect">
            <a:avLst/>
          </a:prstGeom>
          <a:solidFill>
            <a:srgbClr val="356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53, 107, 16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74BA36-3993-4FB2-B69C-D5338088436B}"/>
              </a:ext>
            </a:extLst>
          </p:cNvPr>
          <p:cNvSpPr/>
          <p:nvPr userDrawn="1"/>
        </p:nvSpPr>
        <p:spPr>
          <a:xfrm>
            <a:off x="1916652" y="3654464"/>
            <a:ext cx="1420009" cy="446441"/>
          </a:xfrm>
          <a:prstGeom prst="rect">
            <a:avLst/>
          </a:prstGeom>
          <a:solidFill>
            <a:srgbClr val="AD97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173, 151, 7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F764D7C-3BFE-4E06-B1AB-EBD0E5D2A21C}"/>
              </a:ext>
            </a:extLst>
          </p:cNvPr>
          <p:cNvSpPr/>
          <p:nvPr userDrawn="1"/>
        </p:nvSpPr>
        <p:spPr>
          <a:xfrm>
            <a:off x="1916652" y="4226414"/>
            <a:ext cx="1420009" cy="446441"/>
          </a:xfrm>
          <a:prstGeom prst="rect">
            <a:avLst/>
          </a:prstGeom>
          <a:solidFill>
            <a:srgbClr val="E0C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224, 207, 6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CC33B8-2B64-4852-AFF1-A9D8AFAFB4BF}"/>
              </a:ext>
            </a:extLst>
          </p:cNvPr>
          <p:cNvSpPr/>
          <p:nvPr userDrawn="1"/>
        </p:nvSpPr>
        <p:spPr>
          <a:xfrm>
            <a:off x="1916652" y="4798364"/>
            <a:ext cx="1420009" cy="446441"/>
          </a:xfrm>
          <a:prstGeom prst="rect">
            <a:avLst/>
          </a:prstGeom>
          <a:solidFill>
            <a:srgbClr val="F0E8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240, 232, 17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EF9113-2B61-45EB-9D60-AD281F7A4243}"/>
              </a:ext>
            </a:extLst>
          </p:cNvPr>
          <p:cNvSpPr/>
          <p:nvPr userDrawn="1"/>
        </p:nvSpPr>
        <p:spPr>
          <a:xfrm>
            <a:off x="387273" y="4761885"/>
            <a:ext cx="1420009" cy="446441"/>
          </a:xfrm>
          <a:prstGeom prst="rect">
            <a:avLst/>
          </a:prstGeom>
          <a:solidFill>
            <a:srgbClr val="CACA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202, 202, 220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F8F295-2CA5-499B-83D1-D00B3B5A044B}"/>
              </a:ext>
            </a:extLst>
          </p:cNvPr>
          <p:cNvSpPr/>
          <p:nvPr userDrawn="1"/>
        </p:nvSpPr>
        <p:spPr>
          <a:xfrm>
            <a:off x="3452285" y="4226414"/>
            <a:ext cx="1413754" cy="443305"/>
          </a:xfrm>
          <a:prstGeom prst="rect">
            <a:avLst/>
          </a:prstGeom>
          <a:solidFill>
            <a:srgbClr val="F62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46, 39 76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5D83AE-2DD0-4620-BA96-86E1F4FC056C}"/>
              </a:ext>
            </a:extLst>
          </p:cNvPr>
          <p:cNvSpPr/>
          <p:nvPr userDrawn="1"/>
        </p:nvSpPr>
        <p:spPr>
          <a:xfrm>
            <a:off x="3446030" y="3657600"/>
            <a:ext cx="1420009" cy="443305"/>
          </a:xfrm>
          <a:prstGeom prst="rect">
            <a:avLst/>
          </a:prstGeom>
          <a:solidFill>
            <a:srgbClr val="B507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81, 7, 40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FF9AF1-1FE4-4A7F-869D-586D3BF2B6B7}"/>
              </a:ext>
            </a:extLst>
          </p:cNvPr>
          <p:cNvSpPr/>
          <p:nvPr userDrawn="1"/>
        </p:nvSpPr>
        <p:spPr>
          <a:xfrm>
            <a:off x="3452285" y="4761885"/>
            <a:ext cx="1413754" cy="443305"/>
          </a:xfrm>
          <a:prstGeom prst="rect">
            <a:avLst/>
          </a:prstGeom>
          <a:solidFill>
            <a:srgbClr val="F8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48, 154, 154</a:t>
            </a:r>
          </a:p>
        </p:txBody>
      </p:sp>
    </p:spTree>
    <p:extLst>
      <p:ext uri="{BB962C8B-B14F-4D97-AF65-F5344CB8AC3E}">
        <p14:creationId xmlns:p14="http://schemas.microsoft.com/office/powerpoint/2010/main" val="336693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6092825" y="-10759"/>
            <a:ext cx="3046359" cy="1872343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6092825" y="646336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77821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9145641" y="-10757"/>
            <a:ext cx="3046359" cy="1872342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9145641" y="646337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957787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00200"/>
            <a:ext cx="10515600" cy="4576763"/>
          </a:xfrm>
        </p:spPr>
        <p:txBody>
          <a:bodyPr/>
          <a:lstStyle>
            <a:lvl2pPr marL="685800" indent="-228600">
              <a:buFontTx/>
              <a:buBlip>
                <a:blip r:embed="rId2"/>
              </a:buBlip>
              <a:defRPr/>
            </a:lvl2pPr>
            <a:lvl3pPr marL="1143000" indent="-228600">
              <a:buFontTx/>
              <a:buBlip>
                <a:blip r:embed="rId3"/>
              </a:buBlip>
              <a:defRPr/>
            </a:lvl3pPr>
            <a:lvl4pPr marL="1600200" indent="-228600">
              <a:buFontTx/>
              <a:buBlip>
                <a:blip r:embed="rId4"/>
              </a:buBlip>
              <a:defRPr/>
            </a:lvl4pPr>
            <a:lvl5pPr marL="2057400" indent="-228600">
              <a:buFontTx/>
              <a:buBlip>
                <a:blip r:embed="rId4"/>
              </a:buBlip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8127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00200"/>
            <a:ext cx="5181600" cy="45767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181600" cy="45767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63563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4"/>
          </p:nvPr>
        </p:nvSpPr>
        <p:spPr>
          <a:xfrm>
            <a:off x="4459224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5"/>
          </p:nvPr>
        </p:nvSpPr>
        <p:spPr>
          <a:xfrm>
            <a:off x="8080248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37388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oleObject" Target="../embeddings/oleObject2.bin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ags" Target="../tags/tag5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3778C6-F7BA-43DE-9CF1-056FAFF44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457144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25" imgH="424" progId="TCLayout.ActiveDocument.1">
                  <p:embed/>
                </p:oleObj>
              </mc:Choice>
              <mc:Fallback>
                <p:oleObj name="think-cell Slide" r:id="rId20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3778C6-F7BA-43DE-9CF1-056FAFF44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3B7512-03A4-45A0-8EA2-DCFF33EEE9E2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80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619441"/>
            <a:ext cx="10515600" cy="45164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24" y="6629400"/>
            <a:ext cx="12188952" cy="228600"/>
          </a:xfrm>
          <a:prstGeom prst="rect">
            <a:avLst/>
          </a:prstGeom>
          <a:gradFill flip="none" rotWithShape="1">
            <a:gsLst>
              <a:gs pos="74171">
                <a:srgbClr val="EDE39D"/>
              </a:gs>
              <a:gs pos="97959">
                <a:srgbClr val="E1D361"/>
              </a:gs>
              <a:gs pos="47613">
                <a:srgbClr val="E1D250"/>
              </a:gs>
              <a:gs pos="0">
                <a:srgbClr val="E1D361"/>
              </a:gs>
              <a:gs pos="23000">
                <a:srgbClr val="EDE39D"/>
              </a:gs>
            </a:gsLst>
            <a:lin ang="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C9DE85-DA30-4211-B41F-9BE02C8BD3E3}"/>
              </a:ext>
            </a:extLst>
          </p:cNvPr>
          <p:cNvSpPr/>
          <p:nvPr userDrawn="1"/>
        </p:nvSpPr>
        <p:spPr>
          <a:xfrm>
            <a:off x="-1" y="-7202"/>
            <a:ext cx="12188951" cy="126073"/>
          </a:xfrm>
          <a:prstGeom prst="rect">
            <a:avLst/>
          </a:prstGeom>
          <a:solidFill>
            <a:srgbClr val="000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043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1" r:id="rId3"/>
    <p:sldLayoutId id="2147483658" r:id="rId4"/>
    <p:sldLayoutId id="2147483659" r:id="rId5"/>
    <p:sldLayoutId id="2147483660" r:id="rId6"/>
    <p:sldLayoutId id="2147483650" r:id="rId7"/>
    <p:sldLayoutId id="2147483652" r:id="rId8"/>
    <p:sldLayoutId id="2147483664" r:id="rId9"/>
    <p:sldLayoutId id="2147483653" r:id="rId10"/>
    <p:sldLayoutId id="2147483662" r:id="rId11"/>
    <p:sldLayoutId id="2147483654" r:id="rId12"/>
    <p:sldLayoutId id="2147483655" r:id="rId13"/>
    <p:sldLayoutId id="2147483656" r:id="rId14"/>
    <p:sldLayoutId id="2147483663" r:id="rId15"/>
    <p:sldLayoutId id="2147483657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AD9749"/>
        </a:buClr>
        <a:buFont typeface="Franklin Gothic Heavy" panose="020B0903020102020204" pitchFamily="34" charset="0"/>
        <a:buChar char="&gt;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56BA1"/>
        </a:buClr>
        <a:buFont typeface="Franklin Gothic Heavy" panose="020B0903020102020204" pitchFamily="34" charset="0"/>
        <a:buChar char="&gt;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0CF3C"/>
        </a:buClr>
        <a:buFont typeface="Franklin Gothic Heavy" panose="020B0903020102020204" pitchFamily="34" charset="0"/>
        <a:buChar char="&gt;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Franklin Gothic Heavy" panose="020B0903020102020204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Franklin Gothic Heavy" panose="020B0903020102020204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9017CF1-656E-4EB3-B402-1251EA94A611}"/>
              </a:ext>
            </a:extLst>
          </p:cNvPr>
          <p:cNvSpPr/>
          <p:nvPr userDrawn="1"/>
        </p:nvSpPr>
        <p:spPr>
          <a:xfrm>
            <a:off x="-1" y="-7202"/>
            <a:ext cx="12188951" cy="126073"/>
          </a:xfrm>
          <a:prstGeom prst="rect">
            <a:avLst/>
          </a:prstGeom>
          <a:solidFill>
            <a:srgbClr val="000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3778C6-F7BA-43DE-9CF1-056FAFF44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6202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5" imgH="424" progId="TCLayout.ActiveDocument.1">
                  <p:embed/>
                </p:oleObj>
              </mc:Choice>
              <mc:Fallback>
                <p:oleObj name="think-cell Slide" r:id="rId2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3778C6-F7BA-43DE-9CF1-056FAFF44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3B7512-03A4-45A0-8EA2-DCFF33EEE9E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80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619441"/>
            <a:ext cx="10515600" cy="45164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10529556" y="6617934"/>
            <a:ext cx="1662444" cy="240066"/>
          </a:xfrm>
          <a:prstGeom prst="rect">
            <a:avLst/>
          </a:prstGeom>
          <a:noFill/>
          <a:ln>
            <a:noFill/>
          </a:ln>
        </p:spPr>
        <p:txBody>
          <a:bodyPr wrap="none" lIns="90488" tIns="27432" rIns="90488" bIns="27432" anchor="ctr">
            <a:spAutoFit/>
          </a:bodyPr>
          <a:lstStyle/>
          <a:p>
            <a:pPr marL="0" algn="r" defTabSz="914400" rtl="0" eaLnBrk="1" latinLnBrk="0" hangingPunct="1">
              <a:defRPr/>
            </a:pPr>
            <a:r>
              <a:rPr lang="en-US" sz="12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© 2021 </a:t>
            </a:r>
            <a:r>
              <a:rPr lang="en-US" sz="1200" kern="1200" err="1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Safal</a:t>
            </a:r>
            <a:r>
              <a:rPr lang="en-US" sz="12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 Partners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925120" y="6617934"/>
            <a:ext cx="341760" cy="240066"/>
          </a:xfrm>
          <a:prstGeom prst="rect">
            <a:avLst/>
          </a:prstGeom>
        </p:spPr>
        <p:txBody>
          <a:bodyPr wrap="none" tIns="27432" bIns="27432" anchor="ctr">
            <a:spAutoFit/>
          </a:bodyPr>
          <a:lstStyle/>
          <a:p>
            <a:pPr marL="0" algn="ctr" defTabSz="914400" rtl="0" eaLnBrk="1" latinLnBrk="0" hangingPunct="1"/>
            <a:fld id="{2BF07DEB-607E-47B5-8250-1D8372858C64}" type="slidenum">
              <a:rPr lang="en-US" sz="1200" kern="120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#›</a:t>
            </a:fld>
            <a:endParaRPr lang="en-US" sz="1200" kern="1200">
              <a:solidFill>
                <a:schemeClr val="tx2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CAD8D9-8E3F-4090-82C0-68EDE3732B7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24" y="6629400"/>
            <a:ext cx="12188952" cy="228600"/>
          </a:xfrm>
          <a:prstGeom prst="rect">
            <a:avLst/>
          </a:prstGeom>
          <a:gradFill flip="none" rotWithShape="1">
            <a:gsLst>
              <a:gs pos="74171">
                <a:srgbClr val="EDE39D"/>
              </a:gs>
              <a:gs pos="97959">
                <a:srgbClr val="E1D361"/>
              </a:gs>
              <a:gs pos="47613">
                <a:srgbClr val="E1D250"/>
              </a:gs>
              <a:gs pos="0">
                <a:srgbClr val="E1D361"/>
              </a:gs>
              <a:gs pos="23000">
                <a:srgbClr val="EDE39D"/>
              </a:gs>
            </a:gsLst>
            <a:lin ang="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3181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25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5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30.png"/><Relationship Id="rId4" Type="http://schemas.openxmlformats.org/officeDocument/2006/relationships/image" Target="../media/image6.png"/><Relationship Id="rId9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1.xml"/><Relationship Id="rId5" Type="http://schemas.openxmlformats.org/officeDocument/2006/relationships/image" Target="../media/image12.png"/><Relationship Id="rId4" Type="http://schemas.openxmlformats.org/officeDocument/2006/relationships/image" Target="../media/image2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32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.png"/><Relationship Id="rId4" Type="http://schemas.openxmlformats.org/officeDocument/2006/relationships/image" Target="../media/image23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.png"/><Relationship Id="rId4" Type="http://schemas.openxmlformats.org/officeDocument/2006/relationships/image" Target="../media/image2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www.apprenticeship.gov/about-us/state-offices" TargetMode="External"/><Relationship Id="rId5" Type="http://schemas.openxmlformats.org/officeDocument/2006/relationships/image" Target="../media/image35.svg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8.png"/><Relationship Id="rId4" Type="http://schemas.openxmlformats.org/officeDocument/2006/relationships/image" Target="../media/image35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1.svg"/><Relationship Id="rId18" Type="http://schemas.openxmlformats.org/officeDocument/2006/relationships/image" Target="../media/image15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10.png"/><Relationship Id="rId17" Type="http://schemas.openxmlformats.org/officeDocument/2006/relationships/image" Target="../media/image14.png"/><Relationship Id="rId2" Type="http://schemas.openxmlformats.org/officeDocument/2006/relationships/tags" Target="../tags/tag8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tags" Target="../tags/tag7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4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8.png"/><Relationship Id="rId10" Type="http://schemas.openxmlformats.org/officeDocument/2006/relationships/image" Target="../media/image3.png"/><Relationship Id="rId19" Type="http://schemas.openxmlformats.org/officeDocument/2006/relationships/image" Target="../media/image16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.png"/><Relationship Id="rId1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5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1.png"/><Relationship Id="rId4" Type="http://schemas.openxmlformats.org/officeDocument/2006/relationships/image" Target="../media/image35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2.png"/><Relationship Id="rId4" Type="http://schemas.openxmlformats.org/officeDocument/2006/relationships/image" Target="../media/image35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5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5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notesSlide" Target="../notesSlides/notesSlide23.xml"/><Relationship Id="rId7" Type="http://schemas.openxmlformats.org/officeDocument/2006/relationships/hyperlink" Target="mailto:michelle.carson@safalpartners.com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.xml"/><Relationship Id="rId6" Type="http://schemas.openxmlformats.org/officeDocument/2006/relationships/image" Target="../media/image12.png"/><Relationship Id="rId5" Type="http://schemas.openxmlformats.org/officeDocument/2006/relationships/image" Target="../media/image35.svg"/><Relationship Id="rId4" Type="http://schemas.openxmlformats.org/officeDocument/2006/relationships/image" Target="../media/image34.png"/><Relationship Id="rId9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9.sv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4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.png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5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6.png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.png"/><Relationship Id="rId4" Type="http://schemas.openxmlformats.org/officeDocument/2006/relationships/image" Target="../media/image23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5" Type="http://schemas.openxmlformats.org/officeDocument/2006/relationships/image" Target="../media/image12.png"/><Relationship Id="rId4" Type="http://schemas.openxmlformats.org/officeDocument/2006/relationships/image" Target="../media/image21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26.svg"/><Relationship Id="rId10" Type="http://schemas.openxmlformats.org/officeDocument/2006/relationships/image" Target="../media/image12.png"/><Relationship Id="rId4" Type="http://schemas.openxmlformats.org/officeDocument/2006/relationships/image" Target="../media/image25.png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png"/><Relationship Id="rId5" Type="http://schemas.openxmlformats.org/officeDocument/2006/relationships/image" Target="../media/image27.png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18" descr="Exchanging ideas in the boardroom">
            <a:extLst>
              <a:ext uri="{FF2B5EF4-FFF2-40B4-BE49-F238E27FC236}">
                <a16:creationId xmlns:a16="http://schemas.microsoft.com/office/drawing/2014/main" id="{DC4ADF0C-0AFF-4003-AC23-17E3C33926D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654" r="14979" b="7197"/>
          <a:stretch/>
        </p:blipFill>
        <p:spPr>
          <a:xfrm>
            <a:off x="3830782" y="99679"/>
            <a:ext cx="8361218" cy="5195469"/>
          </a:xfrm>
          <a:prstGeom prst="rect">
            <a:avLst/>
          </a:prstGeom>
          <a:effectLst/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7504523E-BAB0-46A1-8A06-F3CBBD8F67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477" y="271283"/>
            <a:ext cx="1853876" cy="1844048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BF81309-50E9-4864-AF95-E31112D06D15}"/>
              </a:ext>
            </a:extLst>
          </p:cNvPr>
          <p:cNvCxnSpPr>
            <a:cxnSpLocks/>
          </p:cNvCxnSpPr>
          <p:nvPr/>
        </p:nvCxnSpPr>
        <p:spPr>
          <a:xfrm>
            <a:off x="3830782" y="99679"/>
            <a:ext cx="0" cy="5219950"/>
          </a:xfrm>
          <a:prstGeom prst="line">
            <a:avLst/>
          </a:prstGeom>
          <a:ln w="38100">
            <a:solidFill>
              <a:srgbClr val="AF99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4">
            <a:extLst>
              <a:ext uri="{FF2B5EF4-FFF2-40B4-BE49-F238E27FC236}">
                <a16:creationId xmlns:a16="http://schemas.microsoft.com/office/drawing/2014/main" id="{20F37C70-AD4D-41AB-BEDE-E6DCC3667F3D}"/>
              </a:ext>
            </a:extLst>
          </p:cNvPr>
          <p:cNvSpPr txBox="1">
            <a:spLocks/>
          </p:cNvSpPr>
          <p:nvPr/>
        </p:nvSpPr>
        <p:spPr>
          <a:xfrm>
            <a:off x="4233436" y="4756324"/>
            <a:ext cx="881272" cy="551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en-US" sz="4000" i="1"/>
          </a:p>
        </p:txBody>
      </p:sp>
      <p:sp>
        <p:nvSpPr>
          <p:cNvPr id="26" name="Title 4">
            <a:extLst>
              <a:ext uri="{FF2B5EF4-FFF2-40B4-BE49-F238E27FC236}">
                <a16:creationId xmlns:a16="http://schemas.microsoft.com/office/drawing/2014/main" id="{F54B7224-E3F5-412F-A7FC-4D6F0E53F400}"/>
              </a:ext>
            </a:extLst>
          </p:cNvPr>
          <p:cNvSpPr txBox="1">
            <a:spLocks/>
          </p:cNvSpPr>
          <p:nvPr/>
        </p:nvSpPr>
        <p:spPr>
          <a:xfrm>
            <a:off x="0" y="5374954"/>
            <a:ext cx="12191998" cy="116296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500" i="1" dirty="0">
                <a:solidFill>
                  <a:srgbClr val="00005F"/>
                </a:solidFill>
              </a:rPr>
              <a:t>Linking Secondary and Post-Secondary CTE to Pre-Apprenticeship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D54A0F-B1C7-4009-84C6-30A05F14A0D1}"/>
              </a:ext>
            </a:extLst>
          </p:cNvPr>
          <p:cNvCxnSpPr>
            <a:cxnSpLocks/>
          </p:cNvCxnSpPr>
          <p:nvPr/>
        </p:nvCxnSpPr>
        <p:spPr>
          <a:xfrm flipV="1">
            <a:off x="0" y="5269748"/>
            <a:ext cx="12192000" cy="48963"/>
          </a:xfrm>
          <a:prstGeom prst="line">
            <a:avLst/>
          </a:prstGeom>
          <a:ln w="38100">
            <a:solidFill>
              <a:srgbClr val="AF99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5FD2A679-424E-7D9B-782C-FDBE146AA4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266" y="2449480"/>
            <a:ext cx="2743200" cy="106931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85376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8103" y="257593"/>
            <a:ext cx="8602463" cy="887626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Businesses Using RA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CE3274F-415E-4315-A083-B83996316070}"/>
              </a:ext>
            </a:extLst>
          </p:cNvPr>
          <p:cNvSpPr txBox="1">
            <a:spLocks/>
          </p:cNvSpPr>
          <p:nvPr/>
        </p:nvSpPr>
        <p:spPr>
          <a:xfrm>
            <a:off x="6590289" y="1820215"/>
            <a:ext cx="5277419" cy="36125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3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4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Clr>
                <a:srgbClr val="00005F"/>
              </a:buClr>
              <a:buNone/>
            </a:pPr>
            <a:endParaRPr lang="en-US" b="1" u="sng">
              <a:latin typeface="Franklin Gothic Medium"/>
              <a:ea typeface="Lato"/>
              <a:cs typeface="Lato"/>
            </a:endParaRPr>
          </a:p>
        </p:txBody>
      </p:sp>
      <p:pic>
        <p:nvPicPr>
          <p:cNvPr id="3" name="Graphic 2" descr="Thumbs up sign with solid fill">
            <a:extLst>
              <a:ext uri="{FF2B5EF4-FFF2-40B4-BE49-F238E27FC236}">
                <a16:creationId xmlns:a16="http://schemas.microsoft.com/office/drawing/2014/main" id="{5A3AF850-FE08-F591-3B2E-93FEEF70C4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2377" y="102894"/>
            <a:ext cx="1039586" cy="1039586"/>
          </a:xfrm>
          <a:prstGeom prst="rect">
            <a:avLst/>
          </a:prstGeom>
        </p:spPr>
      </p:pic>
      <p:pic>
        <p:nvPicPr>
          <p:cNvPr id="4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704D782-CB0C-47BA-28C9-45290A57049E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688163AD-434F-7685-CEF7-8289C6EB033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50661" y="1490693"/>
            <a:ext cx="9142895" cy="46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294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1818" y="172926"/>
            <a:ext cx="8602463" cy="887626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5800" dirty="0"/>
              <a:t>Why They're Choosing RA </a:t>
            </a:r>
          </a:p>
        </p:txBody>
      </p:sp>
      <p:pic>
        <p:nvPicPr>
          <p:cNvPr id="3" name="Graphic 2" descr="Clipboard Checked with solid fill">
            <a:extLst>
              <a:ext uri="{FF2B5EF4-FFF2-40B4-BE49-F238E27FC236}">
                <a16:creationId xmlns:a16="http://schemas.microsoft.com/office/drawing/2014/main" id="{5A3AF850-FE08-F591-3B2E-93FEEF70C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2377" y="102894"/>
            <a:ext cx="1039586" cy="1039586"/>
          </a:xfrm>
          <a:prstGeom prst="rect">
            <a:avLst/>
          </a:prstGeom>
        </p:spPr>
      </p:pic>
      <p:pic>
        <p:nvPicPr>
          <p:cNvPr id="4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704D782-CB0C-47BA-28C9-45290A57049E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B4B90E-4FBC-5FCA-F8A1-6B5849A0D3E4}"/>
              </a:ext>
            </a:extLst>
          </p:cNvPr>
          <p:cNvSpPr txBox="1">
            <a:spLocks/>
          </p:cNvSpPr>
          <p:nvPr/>
        </p:nvSpPr>
        <p:spPr>
          <a:xfrm>
            <a:off x="6042984" y="1719019"/>
            <a:ext cx="5661161" cy="457197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base">
              <a:lnSpc>
                <a:spcPct val="120000"/>
              </a:lnSpc>
              <a:spcAft>
                <a:spcPts val="600"/>
              </a:spcAft>
              <a:buFont typeface="Arial"/>
              <a:buChar char="•"/>
            </a:pPr>
            <a:r>
              <a:rPr lang="en-US" sz="2400" b="1" dirty="0">
                <a:latin typeface="Franklin Gothic Book"/>
                <a:cs typeface="Segoe UI"/>
              </a:rPr>
              <a:t>Attract New Talent :</a:t>
            </a:r>
            <a:r>
              <a:rPr lang="en-US" sz="2400" dirty="0">
                <a:latin typeface="Franklin Gothic Book"/>
                <a:cs typeface="Segoe UI"/>
              </a:rPr>
              <a:t> 70% of workers would be “extremely” or “very” likely to switch to a new employer offering training opportunities</a:t>
            </a:r>
            <a:endParaRPr lang="en-US" dirty="0">
              <a:latin typeface="Franklin Gothic Book"/>
            </a:endParaRPr>
          </a:p>
          <a:p>
            <a:pPr marL="342900" indent="-342900" fontAlgn="base">
              <a:lnSpc>
                <a:spcPct val="120000"/>
              </a:lnSpc>
              <a:spcAft>
                <a:spcPts val="600"/>
              </a:spcAft>
              <a:buFont typeface="Arial"/>
              <a:buChar char="•"/>
            </a:pPr>
            <a:r>
              <a:rPr lang="en-US" sz="2400" b="1" dirty="0">
                <a:latin typeface="Franklin Gothic Book"/>
                <a:cs typeface="Segoe UI"/>
              </a:rPr>
              <a:t>Proven ROI :</a:t>
            </a:r>
            <a:r>
              <a:rPr lang="en-US" sz="2400" dirty="0">
                <a:latin typeface="Franklin Gothic Book"/>
                <a:cs typeface="Segoe UI"/>
              </a:rPr>
              <a:t> Employers report on average $1.47 for every $1 invested in RA – highly cost effective in the long term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Arial"/>
              <a:buChar char="•"/>
            </a:pPr>
            <a:r>
              <a:rPr lang="en-US" sz="2400" b="1" dirty="0">
                <a:latin typeface="Franklin Gothic Book"/>
                <a:cs typeface="Segoe UI"/>
              </a:rPr>
              <a:t>Diversify Workforce</a:t>
            </a:r>
            <a:r>
              <a:rPr lang="en-US" sz="2400" dirty="0">
                <a:latin typeface="Franklin Gothic Book"/>
                <a:cs typeface="Segoe UI"/>
              </a:rPr>
              <a:t> </a:t>
            </a:r>
            <a:r>
              <a:rPr lang="en-US" sz="2400" b="1" dirty="0">
                <a:latin typeface="Franklin Gothic Book"/>
                <a:cs typeface="Segoe UI"/>
              </a:rPr>
              <a:t>: </a:t>
            </a:r>
            <a:r>
              <a:rPr lang="en-US" sz="2400" dirty="0">
                <a:latin typeface="Franklin Gothic Book"/>
                <a:cs typeface="Segoe UI"/>
              </a:rPr>
              <a:t>With a training plan in place from day one, employers can take a skills-based approach to hiring which creates much larger, more diverse talent pipeline</a:t>
            </a:r>
            <a:endParaRPr lang="en-US" sz="1200" i="1" dirty="0">
              <a:latin typeface="Franklin Gothic Book"/>
              <a:cs typeface="Segoe UI" panose="020B0502040204020203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291AB627-FF99-F363-4AE4-48FC6752FB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015327"/>
              </p:ext>
            </p:extLst>
          </p:nvPr>
        </p:nvGraphicFramePr>
        <p:xfrm>
          <a:off x="1251392" y="1341958"/>
          <a:ext cx="4998069" cy="4978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Box 2">
            <a:extLst>
              <a:ext uri="{FF2B5EF4-FFF2-40B4-BE49-F238E27FC236}">
                <a16:creationId xmlns:a16="http://schemas.microsoft.com/office/drawing/2014/main" id="{2EB068FC-8B5B-499F-B81E-B08995683934}"/>
              </a:ext>
            </a:extLst>
          </p:cNvPr>
          <p:cNvSpPr txBox="1"/>
          <p:nvPr/>
        </p:nvSpPr>
        <p:spPr>
          <a:xfrm>
            <a:off x="120926" y="2743959"/>
            <a:ext cx="16786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/>
              <a:t>Would you switch to a new employer for training opportunities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3777509-2B20-DF1B-98A2-FA2720E8EDD2}"/>
              </a:ext>
            </a:extLst>
          </p:cNvPr>
          <p:cNvSpPr txBox="1"/>
          <p:nvPr/>
        </p:nvSpPr>
        <p:spPr>
          <a:xfrm>
            <a:off x="-4838" y="6659638"/>
            <a:ext cx="381967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200" i="1">
                <a:latin typeface="Franklin Gothic Book"/>
              </a:rPr>
              <a:t>Sources: Gallup 2021, USDOL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15723591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8103" y="257593"/>
            <a:ext cx="8602463" cy="887626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5800"/>
              <a:t>Why They're Choosing RA </a:t>
            </a:r>
          </a:p>
        </p:txBody>
      </p:sp>
      <p:pic>
        <p:nvPicPr>
          <p:cNvPr id="3" name="Graphic 2" descr="Hockey Stick Curve Graph with solid fill">
            <a:extLst>
              <a:ext uri="{FF2B5EF4-FFF2-40B4-BE49-F238E27FC236}">
                <a16:creationId xmlns:a16="http://schemas.microsoft.com/office/drawing/2014/main" id="{5A3AF850-FE08-F591-3B2E-93FEEF70C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2377" y="102894"/>
            <a:ext cx="1039586" cy="1039586"/>
          </a:xfrm>
          <a:prstGeom prst="rect">
            <a:avLst/>
          </a:prstGeom>
        </p:spPr>
      </p:pic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1B61501D-C723-CFD7-7CB7-0CD436A589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7320082"/>
              </p:ext>
            </p:extLst>
          </p:nvPr>
        </p:nvGraphicFramePr>
        <p:xfrm>
          <a:off x="390042" y="1915968"/>
          <a:ext cx="5190951" cy="4038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TextBox 3">
            <a:extLst>
              <a:ext uri="{FF2B5EF4-FFF2-40B4-BE49-F238E27FC236}">
                <a16:creationId xmlns:a16="http://schemas.microsoft.com/office/drawing/2014/main" id="{45E317EC-E09D-CBA4-6E1E-EBD475AF5517}"/>
              </a:ext>
            </a:extLst>
          </p:cNvPr>
          <p:cNvSpPr txBox="1"/>
          <p:nvPr/>
        </p:nvSpPr>
        <p:spPr>
          <a:xfrm>
            <a:off x="1016704" y="1466901"/>
            <a:ext cx="3622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200" b="1" dirty="0"/>
              <a:t>Better Rate of Hire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5FAFD81E-307C-CB38-364D-938232D2C2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8665266"/>
              </p:ext>
            </p:extLst>
          </p:nvPr>
        </p:nvGraphicFramePr>
        <p:xfrm>
          <a:off x="6038368" y="1899767"/>
          <a:ext cx="5806209" cy="4115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5">
            <a:extLst>
              <a:ext uri="{FF2B5EF4-FFF2-40B4-BE49-F238E27FC236}">
                <a16:creationId xmlns:a16="http://schemas.microsoft.com/office/drawing/2014/main" id="{2FA94AF7-5E7F-C28E-44A8-32B1A809B2E2}"/>
              </a:ext>
            </a:extLst>
          </p:cNvPr>
          <p:cNvSpPr txBox="1"/>
          <p:nvPr/>
        </p:nvSpPr>
        <p:spPr>
          <a:xfrm>
            <a:off x="7010679" y="1471372"/>
            <a:ext cx="4356385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200" b="1" dirty="0"/>
              <a:t>Higher 1-Year+ Retention Rate</a:t>
            </a:r>
          </a:p>
        </p:txBody>
      </p:sp>
      <p:sp>
        <p:nvSpPr>
          <p:cNvPr id="18" name="TextBox 7">
            <a:extLst>
              <a:ext uri="{FF2B5EF4-FFF2-40B4-BE49-F238E27FC236}">
                <a16:creationId xmlns:a16="http://schemas.microsoft.com/office/drawing/2014/main" id="{2DD5D233-85F1-434E-0FCB-89562F4899E8}"/>
              </a:ext>
            </a:extLst>
          </p:cNvPr>
          <p:cNvSpPr txBox="1"/>
          <p:nvPr/>
        </p:nvSpPr>
        <p:spPr>
          <a:xfrm>
            <a:off x="3829824" y="6082618"/>
            <a:ext cx="6635482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1"/>
              <a:t>Sources: Apprenticeship.gov (USDOL), </a:t>
            </a:r>
            <a:endParaRPr lang="en-US"/>
          </a:p>
          <a:p>
            <a:r>
              <a:rPr lang="en-US" sz="1400" i="1"/>
              <a:t>National Association of Colleges &amp; Employers “2020 Internship &amp; Co-Op Report” </a:t>
            </a:r>
            <a:endParaRPr lang="en-US"/>
          </a:p>
        </p:txBody>
      </p:sp>
      <p:pic>
        <p:nvPicPr>
          <p:cNvPr id="4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704D782-CB0C-47BA-28C9-45290A57049E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08674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A544F-6AF4-FDBF-EB37-9B97EA9E6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Apprenticeship: </a:t>
            </a:r>
            <a:br>
              <a:rPr lang="en-US" dirty="0"/>
            </a:br>
            <a:r>
              <a:rPr lang="en-US" dirty="0"/>
              <a:t>What, Why and How</a:t>
            </a:r>
          </a:p>
        </p:txBody>
      </p:sp>
    </p:spTree>
    <p:extLst>
      <p:ext uri="{BB962C8B-B14F-4D97-AF65-F5344CB8AC3E}">
        <p14:creationId xmlns:p14="http://schemas.microsoft.com/office/powerpoint/2010/main" val="15830623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7081" y="324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2"/>
                </a:solidFill>
              </a:rPr>
              <a:t>What is Pre-Apprenticeship?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B7EFE3E-EFFA-4E68-A588-3004820B182B}"/>
              </a:ext>
            </a:extLst>
          </p:cNvPr>
          <p:cNvSpPr txBox="1">
            <a:spLocks/>
          </p:cNvSpPr>
          <p:nvPr/>
        </p:nvSpPr>
        <p:spPr>
          <a:xfrm>
            <a:off x="3976577" y="1235175"/>
            <a:ext cx="7423405" cy="49446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Franklin Gothic Book"/>
                <a:cs typeface="Segoe UI"/>
              </a:rPr>
              <a:t>A program or set of strategies designed to prepare individuals for entry into RA programs. </a:t>
            </a:r>
          </a:p>
          <a:p>
            <a:r>
              <a:rPr lang="en-US" dirty="0">
                <a:latin typeface="Franklin Gothic Book"/>
                <a:cs typeface="Segoe UI"/>
              </a:rPr>
              <a:t>Not </a:t>
            </a:r>
            <a:r>
              <a:rPr lang="en-US" sz="2800" b="0" dirty="0">
                <a:effectLst/>
                <a:latin typeface="Franklin Gothic Book"/>
                <a:ea typeface="Verdana" panose="020B0604030504040204" pitchFamily="34" charset="0"/>
                <a:cs typeface="Segoe UI"/>
              </a:rPr>
              <a:t>federally overseen / not in National Apprenticeship Act = more flexibility</a:t>
            </a:r>
          </a:p>
          <a:p>
            <a:r>
              <a:rPr lang="en-US" dirty="0">
                <a:latin typeface="Franklin Gothic Book"/>
                <a:ea typeface="Verdana" panose="020B0604030504040204" pitchFamily="34" charset="0"/>
                <a:cs typeface="Segoe UI"/>
              </a:rPr>
              <a:t>Expanding and some SAA implication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8E77CF3-8B98-472E-93F2-87731AFC90B0}"/>
              </a:ext>
            </a:extLst>
          </p:cNvPr>
          <p:cNvSpPr/>
          <p:nvPr/>
        </p:nvSpPr>
        <p:spPr>
          <a:xfrm>
            <a:off x="3292927" y="2237412"/>
            <a:ext cx="72571" cy="29401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pic>
        <p:nvPicPr>
          <p:cNvPr id="8" name="Graphic 1" descr="Aperture with solid fill">
            <a:extLst>
              <a:ext uri="{FF2B5EF4-FFF2-40B4-BE49-F238E27FC236}">
                <a16:creationId xmlns:a16="http://schemas.microsoft.com/office/drawing/2014/main" id="{5FB829F6-DF95-47DD-8C06-BE97605C43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3710" y="138805"/>
            <a:ext cx="1301425" cy="1301425"/>
          </a:xfrm>
          <a:prstGeom prst="rect">
            <a:avLst/>
          </a:prstGeom>
        </p:spPr>
      </p:pic>
      <p:pic>
        <p:nvPicPr>
          <p:cNvPr id="4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DF8F2A5-287F-FEE7-2BCD-75F494156AA0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27013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7081" y="324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2"/>
                </a:solidFill>
              </a:rPr>
              <a:t>6 High-Quality Hallmarks</a:t>
            </a:r>
          </a:p>
        </p:txBody>
      </p:sp>
      <p:pic>
        <p:nvPicPr>
          <p:cNvPr id="8" name="Graphic 1" descr="Aperture with solid fill">
            <a:extLst>
              <a:ext uri="{FF2B5EF4-FFF2-40B4-BE49-F238E27FC236}">
                <a16:creationId xmlns:a16="http://schemas.microsoft.com/office/drawing/2014/main" id="{5FB829F6-DF95-47DD-8C06-BE97605C43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3710" y="138805"/>
            <a:ext cx="1301425" cy="1301425"/>
          </a:xfrm>
          <a:prstGeom prst="rect">
            <a:avLst/>
          </a:prstGeom>
        </p:spPr>
      </p:pic>
      <p:pic>
        <p:nvPicPr>
          <p:cNvPr id="4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DF8F2A5-287F-FEE7-2BCD-75F494156AA0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F299B402-1771-C2DD-2918-49763C637366}"/>
              </a:ext>
            </a:extLst>
          </p:cNvPr>
          <p:cNvSpPr/>
          <p:nvPr/>
        </p:nvSpPr>
        <p:spPr>
          <a:xfrm>
            <a:off x="1321980" y="2070006"/>
            <a:ext cx="2339163" cy="130142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4B8E7B85-3FA0-0FA4-C140-EF4C8EC444CF}"/>
              </a:ext>
            </a:extLst>
          </p:cNvPr>
          <p:cNvSpPr/>
          <p:nvPr/>
        </p:nvSpPr>
        <p:spPr>
          <a:xfrm>
            <a:off x="8282761" y="2070006"/>
            <a:ext cx="2339163" cy="1301425"/>
          </a:xfrm>
          <a:prstGeom prst="wedgeRectCallou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60D1DFB7-D7F8-41A3-F225-B6482B321E78}"/>
              </a:ext>
            </a:extLst>
          </p:cNvPr>
          <p:cNvSpPr/>
          <p:nvPr/>
        </p:nvSpPr>
        <p:spPr>
          <a:xfrm>
            <a:off x="4802372" y="2070006"/>
            <a:ext cx="2339163" cy="1301425"/>
          </a:xfrm>
          <a:prstGeom prst="wedgeRect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0448CF91-48FD-70F3-2073-BE88E3FE2B8E}"/>
              </a:ext>
            </a:extLst>
          </p:cNvPr>
          <p:cNvSpPr/>
          <p:nvPr/>
        </p:nvSpPr>
        <p:spPr>
          <a:xfrm>
            <a:off x="8269461" y="4359297"/>
            <a:ext cx="2339163" cy="130142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A5E56979-317D-67D6-51B8-1BB3666D4BA0}"/>
              </a:ext>
            </a:extLst>
          </p:cNvPr>
          <p:cNvSpPr/>
          <p:nvPr/>
        </p:nvSpPr>
        <p:spPr>
          <a:xfrm>
            <a:off x="4802372" y="4349373"/>
            <a:ext cx="2339163" cy="1301425"/>
          </a:xfrm>
          <a:prstGeom prst="wedgeRect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5761EBF1-5B33-8F46-1B4E-F7ED9DF2D99A}"/>
              </a:ext>
            </a:extLst>
          </p:cNvPr>
          <p:cNvSpPr/>
          <p:nvPr/>
        </p:nvSpPr>
        <p:spPr>
          <a:xfrm>
            <a:off x="1321980" y="4359297"/>
            <a:ext cx="2339163" cy="1301425"/>
          </a:xfrm>
          <a:prstGeom prst="wedgeRectCallou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444B13-FF83-5BE9-B59A-F8491B8091B0}"/>
              </a:ext>
            </a:extLst>
          </p:cNvPr>
          <p:cNvSpPr txBox="1"/>
          <p:nvPr/>
        </p:nvSpPr>
        <p:spPr>
          <a:xfrm>
            <a:off x="1488553" y="2264731"/>
            <a:ext cx="2055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Transparent entry and success requirem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BDF563-0629-8A12-585F-FE58140B69CA}"/>
              </a:ext>
            </a:extLst>
          </p:cNvPr>
          <p:cNvSpPr txBox="1"/>
          <p:nvPr/>
        </p:nvSpPr>
        <p:spPr>
          <a:xfrm>
            <a:off x="4944138" y="2264731"/>
            <a:ext cx="2055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Training in skills sought by employ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322DB34-D1B3-D48D-2E83-0F9D5BD6CA2B}"/>
              </a:ext>
            </a:extLst>
          </p:cNvPr>
          <p:cNvSpPr txBox="1"/>
          <p:nvPr/>
        </p:nvSpPr>
        <p:spPr>
          <a:xfrm>
            <a:off x="8424528" y="2259053"/>
            <a:ext cx="2055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kills training through WBL and hands-on learn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7B71B5-23E6-6C2D-BEA8-404805EDDA91}"/>
              </a:ext>
            </a:extLst>
          </p:cNvPr>
          <p:cNvSpPr txBox="1"/>
          <p:nvPr/>
        </p:nvSpPr>
        <p:spPr>
          <a:xfrm>
            <a:off x="1452673" y="4548344"/>
            <a:ext cx="2055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tudent support for persisten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64E62CA-A73A-4EC1-084C-8E93E7B975CB}"/>
              </a:ext>
            </a:extLst>
          </p:cNvPr>
          <p:cNvSpPr txBox="1"/>
          <p:nvPr/>
        </p:nvSpPr>
        <p:spPr>
          <a:xfrm>
            <a:off x="4944138" y="4538420"/>
            <a:ext cx="2055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Results in 1+ industry-valued credent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44E4DCB-0834-88D7-7CE9-CAAE7302C406}"/>
              </a:ext>
            </a:extLst>
          </p:cNvPr>
          <p:cNvSpPr txBox="1"/>
          <p:nvPr/>
        </p:nvSpPr>
        <p:spPr>
          <a:xfrm>
            <a:off x="8411228" y="4448078"/>
            <a:ext cx="20556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Direct entry/preferred application for linked RAP</a:t>
            </a:r>
          </a:p>
        </p:txBody>
      </p:sp>
    </p:spTree>
    <p:extLst>
      <p:ext uri="{BB962C8B-B14F-4D97-AF65-F5344CB8AC3E}">
        <p14:creationId xmlns:p14="http://schemas.microsoft.com/office/powerpoint/2010/main" val="36441530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1470" y="324537"/>
            <a:ext cx="8602463" cy="887626"/>
          </a:xfrm>
        </p:spPr>
        <p:txBody>
          <a:bodyPr>
            <a:noAutofit/>
          </a:bodyPr>
          <a:lstStyle/>
          <a:p>
            <a:r>
              <a:rPr lang="en-US" sz="4400" dirty="0">
                <a:solidFill>
                  <a:schemeClr val="tx2"/>
                </a:solidFill>
              </a:rPr>
              <a:t>Role of CTE in RA </a:t>
            </a:r>
          </a:p>
        </p:txBody>
      </p:sp>
      <p:pic>
        <p:nvPicPr>
          <p:cNvPr id="4" name="Graphic 3" descr="Bullseye with solid fill">
            <a:extLst>
              <a:ext uri="{FF2B5EF4-FFF2-40B4-BE49-F238E27FC236}">
                <a16:creationId xmlns:a16="http://schemas.microsoft.com/office/drawing/2014/main" id="{E8F4BB1C-C0D0-4B1A-90DA-92B9EE1015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850" y="151417"/>
            <a:ext cx="1382486" cy="129564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C21D270-2BDE-4006-90D1-876E0257B59B}"/>
              </a:ext>
            </a:extLst>
          </p:cNvPr>
          <p:cNvSpPr txBox="1"/>
          <p:nvPr/>
        </p:nvSpPr>
        <p:spPr>
          <a:xfrm>
            <a:off x="613896" y="2736051"/>
            <a:ext cx="2399620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endParaRPr lang="en-US">
              <a:solidFill>
                <a:srgbClr val="001134"/>
              </a:solidFill>
              <a:effectLst/>
              <a:latin typeface="+mj-lt"/>
            </a:endParaRPr>
          </a:p>
        </p:txBody>
      </p:sp>
      <p:pic>
        <p:nvPicPr>
          <p:cNvPr id="6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68D3893-1BA5-B061-8C24-8C60946E139E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6C8BF64D-C3EC-DEFA-504E-8038AA9F3456}"/>
              </a:ext>
            </a:extLst>
          </p:cNvPr>
          <p:cNvSpPr/>
          <p:nvPr/>
        </p:nvSpPr>
        <p:spPr>
          <a:xfrm>
            <a:off x="930348" y="1786270"/>
            <a:ext cx="3333314" cy="3916523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F29D37-11AB-3239-DBC1-E2BF07A5F3C0}"/>
              </a:ext>
            </a:extLst>
          </p:cNvPr>
          <p:cNvSpPr txBox="1"/>
          <p:nvPr/>
        </p:nvSpPr>
        <p:spPr>
          <a:xfrm>
            <a:off x="1142989" y="2631295"/>
            <a:ext cx="2908029" cy="2545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800" dirty="0">
                <a:solidFill>
                  <a:schemeClr val="bg1"/>
                </a:solidFill>
                <a:ea typeface="+mn-lt"/>
                <a:cs typeface="+mn-lt"/>
              </a:rPr>
              <a:t>Supply a pool of candidates</a:t>
            </a:r>
            <a:endParaRPr lang="en-US" sz="1800" dirty="0">
              <a:solidFill>
                <a:schemeClr val="bg1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sz="1800" dirty="0">
                <a:solidFill>
                  <a:schemeClr val="bg1"/>
                </a:solidFill>
                <a:ea typeface="+mn-lt"/>
                <a:cs typeface="+mn-lt"/>
              </a:rPr>
              <a:t>Deliver relevant workforce training (soft skills and technical skills) that maps to required related instruction 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D9B7314-8295-F7C2-B1A3-B1FC4FE408EF}"/>
              </a:ext>
            </a:extLst>
          </p:cNvPr>
          <p:cNvSpPr txBox="1"/>
          <p:nvPr/>
        </p:nvSpPr>
        <p:spPr>
          <a:xfrm>
            <a:off x="1142990" y="1954749"/>
            <a:ext cx="2678146" cy="407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ngage Employers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2AA03A5F-2144-6CF1-0FAD-E33927FC9DA9}"/>
              </a:ext>
            </a:extLst>
          </p:cNvPr>
          <p:cNvSpPr/>
          <p:nvPr/>
        </p:nvSpPr>
        <p:spPr>
          <a:xfrm>
            <a:off x="4476303" y="1786270"/>
            <a:ext cx="3333314" cy="3916523"/>
          </a:xfrm>
          <a:prstGeom prst="wedgeRect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04E10F-4A0A-99D9-F976-BFEE7B6FC0BE}"/>
              </a:ext>
            </a:extLst>
          </p:cNvPr>
          <p:cNvSpPr txBox="1"/>
          <p:nvPr/>
        </p:nvSpPr>
        <p:spPr>
          <a:xfrm>
            <a:off x="4688944" y="2631295"/>
            <a:ext cx="2908029" cy="28512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  <a:ea typeface="+mn-lt"/>
                <a:cs typeface="+mn-lt"/>
              </a:rPr>
              <a:t>Design on-ramp to accelerate entry</a:t>
            </a:r>
            <a:endParaRPr lang="en-US" sz="1800" dirty="0">
              <a:solidFill>
                <a:schemeClr val="bg1"/>
              </a:solidFill>
              <a:ea typeface="+mn-lt"/>
              <a:cs typeface="+mn-lt"/>
            </a:endParaRPr>
          </a:p>
          <a:p>
            <a:pPr marL="342900" indent="-34290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</a:rPr>
              <a:t>Leverage students’ instruction and experience to achieve multiple outcomes</a:t>
            </a:r>
          </a:p>
          <a:p>
            <a:pPr marL="342900" indent="-34290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</a:rPr>
              <a:t>Provide training and instruction for in-demand caree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45EA82-3A21-FCD4-4B6E-2EE7B6915BDB}"/>
              </a:ext>
            </a:extLst>
          </p:cNvPr>
          <p:cNvSpPr txBox="1"/>
          <p:nvPr/>
        </p:nvSpPr>
        <p:spPr>
          <a:xfrm>
            <a:off x="4688945" y="1954749"/>
            <a:ext cx="3120669" cy="407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reate Student Pathways</a:t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CB20D0F3-8C3A-1F38-1DAA-7123BA2DAC45}"/>
              </a:ext>
            </a:extLst>
          </p:cNvPr>
          <p:cNvSpPr/>
          <p:nvPr/>
        </p:nvSpPr>
        <p:spPr>
          <a:xfrm>
            <a:off x="8022258" y="1818216"/>
            <a:ext cx="3333314" cy="3916523"/>
          </a:xfrm>
          <a:prstGeom prst="wedgeRectCallou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7F05DB3-6022-8E9D-ADCF-FE5C4BEA2300}"/>
              </a:ext>
            </a:extLst>
          </p:cNvPr>
          <p:cNvSpPr txBox="1"/>
          <p:nvPr/>
        </p:nvSpPr>
        <p:spPr>
          <a:xfrm>
            <a:off x="8234899" y="2663241"/>
            <a:ext cx="2908029" cy="2545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  <a:ea typeface="+mn-lt"/>
                <a:cs typeface="+mn-lt"/>
              </a:rPr>
              <a:t>Recruit program candidates (adults)</a:t>
            </a:r>
          </a:p>
          <a:p>
            <a:pPr marL="342900" indent="-34290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  <a:ea typeface="+mn-lt"/>
                <a:cs typeface="+mn-lt"/>
              </a:rPr>
              <a:t>Access funding for training costs (ITA)</a:t>
            </a:r>
          </a:p>
          <a:p>
            <a:pPr marL="342900" indent="-34290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  <a:ea typeface="+mn-lt"/>
                <a:cs typeface="+mn-lt"/>
              </a:rPr>
              <a:t>Access supportive services for WIOA-eligible students</a:t>
            </a:r>
          </a:p>
          <a:p>
            <a:pPr marL="342900" indent="-342900">
              <a:buFont typeface="Arial"/>
              <a:buChar char="•"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BC5EC4-54A2-F86D-D591-BFA454884BFC}"/>
              </a:ext>
            </a:extLst>
          </p:cNvPr>
          <p:cNvSpPr txBox="1"/>
          <p:nvPr/>
        </p:nvSpPr>
        <p:spPr>
          <a:xfrm>
            <a:off x="8234900" y="1986695"/>
            <a:ext cx="3120669" cy="407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llaborate with Workfor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6002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3456E17-26BF-7795-619D-8A0795C53E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4603" y="2242202"/>
            <a:ext cx="5763352" cy="3768535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8629" y="490137"/>
            <a:ext cx="9261464" cy="10162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ts val="3600"/>
              </a:lnSpc>
              <a:buNone/>
            </a:pPr>
            <a:r>
              <a:rPr lang="en-US" sz="4400" dirty="0">
                <a:solidFill>
                  <a:srgbClr val="00005F"/>
                </a:solidFill>
                <a:latin typeface="+mj-lt"/>
              </a:rPr>
              <a:t>Getting Started: System Connection</a:t>
            </a:r>
            <a:endParaRPr lang="en-US" dirty="0"/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80C9BFA-88F3-4945-870A-A26B73BDE355}"/>
              </a:ext>
            </a:extLst>
          </p:cNvPr>
          <p:cNvSpPr txBox="1"/>
          <p:nvPr/>
        </p:nvSpPr>
        <p:spPr>
          <a:xfrm>
            <a:off x="1355270" y="2362199"/>
            <a:ext cx="49257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defTabSz="844550">
              <a:spcBef>
                <a:spcPct val="0"/>
              </a:spcBef>
              <a:spcAft>
                <a:spcPct val="350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endParaRPr lang="en-US">
              <a:solidFill>
                <a:srgbClr val="001134"/>
              </a:solidFill>
              <a:latin typeface="+mj-lt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BCD592-BDB3-7BA7-1393-5FCF81415012}"/>
              </a:ext>
            </a:extLst>
          </p:cNvPr>
          <p:cNvSpPr txBox="1"/>
          <p:nvPr/>
        </p:nvSpPr>
        <p:spPr>
          <a:xfrm>
            <a:off x="3178629" y="1470354"/>
            <a:ext cx="91338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dentify local RA sponsors with programs aligned with your programming</a:t>
            </a:r>
          </a:p>
        </p:txBody>
      </p:sp>
      <p:sp>
        <p:nvSpPr>
          <p:cNvPr id="7" name="TextBox 6">
            <a:hlinkClick r:id="rId6"/>
            <a:extLst>
              <a:ext uri="{FF2B5EF4-FFF2-40B4-BE49-F238E27FC236}">
                <a16:creationId xmlns:a16="http://schemas.microsoft.com/office/drawing/2014/main" id="{7A658074-C97D-2A3F-21B4-7453BBA2B705}"/>
              </a:ext>
            </a:extLst>
          </p:cNvPr>
          <p:cNvSpPr txBox="1"/>
          <p:nvPr/>
        </p:nvSpPr>
        <p:spPr>
          <a:xfrm>
            <a:off x="3178629" y="6156250"/>
            <a:ext cx="811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ttps://www.apprenticeship.gov/about-us/state-offices</a:t>
            </a:r>
          </a:p>
        </p:txBody>
      </p:sp>
    </p:spTree>
    <p:extLst>
      <p:ext uri="{BB962C8B-B14F-4D97-AF65-F5344CB8AC3E}">
        <p14:creationId xmlns:p14="http://schemas.microsoft.com/office/powerpoint/2010/main" val="3309262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8629" y="490137"/>
            <a:ext cx="8828314" cy="10162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ts val="3600"/>
              </a:lnSpc>
              <a:buNone/>
            </a:pPr>
            <a:r>
              <a:rPr lang="en-US" sz="4400" dirty="0">
                <a:solidFill>
                  <a:srgbClr val="00005F"/>
                </a:solidFill>
                <a:latin typeface="+mj-lt"/>
              </a:rPr>
              <a:t>Employer Talk: Quals and Entry</a:t>
            </a:r>
            <a:endParaRPr lang="en-US" dirty="0"/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80C9BFA-88F3-4945-870A-A26B73BDE355}"/>
              </a:ext>
            </a:extLst>
          </p:cNvPr>
          <p:cNvSpPr txBox="1"/>
          <p:nvPr/>
        </p:nvSpPr>
        <p:spPr>
          <a:xfrm>
            <a:off x="1355270" y="2362199"/>
            <a:ext cx="49257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defTabSz="844550">
              <a:spcBef>
                <a:spcPct val="0"/>
              </a:spcBef>
              <a:spcAft>
                <a:spcPct val="350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endParaRPr lang="en-US">
              <a:solidFill>
                <a:srgbClr val="001134"/>
              </a:solidFill>
              <a:latin typeface="+mj-lt"/>
              <a:cs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156AA4-26E9-8734-A2C6-B2F5D9D117A4}"/>
              </a:ext>
            </a:extLst>
          </p:cNvPr>
          <p:cNvSpPr txBox="1"/>
          <p:nvPr/>
        </p:nvSpPr>
        <p:spPr>
          <a:xfrm>
            <a:off x="445093" y="2141311"/>
            <a:ext cx="262771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ll RAPs have Minimum Qualifications and Selection Procedures</a:t>
            </a:r>
          </a:p>
          <a:p>
            <a:pPr marL="285750" indent="-285750">
              <a:buFontTx/>
              <a:buChar char="-"/>
            </a:pPr>
            <a:r>
              <a:rPr lang="en-US" dirty="0"/>
              <a:t>Show: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What applicants will need/be able to pass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Prospective talent pool sources</a:t>
            </a:r>
          </a:p>
          <a:p>
            <a:pPr marL="285750" indent="-285750">
              <a:buFontTx/>
              <a:buChar char="-"/>
            </a:pPr>
            <a:r>
              <a:rPr lang="en-US" dirty="0"/>
              <a:t>Can be used for students’ RAP application work</a:t>
            </a:r>
          </a:p>
          <a:p>
            <a:pPr marL="285750" indent="-285750">
              <a:buFontTx/>
              <a:buChar char="-"/>
            </a:pPr>
            <a:r>
              <a:rPr lang="en-US" dirty="0"/>
              <a:t>Can help with pre-app program market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577C9E-54FB-FDF3-B16A-2E1908EE16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2687" y="3639318"/>
            <a:ext cx="5506218" cy="266737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D388D8A-633E-0A12-87D8-41EB1F7419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4863" y="998286"/>
            <a:ext cx="5341867" cy="2499755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CB08A2B3-8468-A0A9-78ED-0E76788B9723}"/>
              </a:ext>
            </a:extLst>
          </p:cNvPr>
          <p:cNvSpPr/>
          <p:nvPr/>
        </p:nvSpPr>
        <p:spPr>
          <a:xfrm>
            <a:off x="2963784" y="4695509"/>
            <a:ext cx="2448903" cy="168905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9EA80F0E-C7C7-D7F0-B18C-5A6318501F40}"/>
              </a:ext>
            </a:extLst>
          </p:cNvPr>
          <p:cNvSpPr/>
          <p:nvPr/>
        </p:nvSpPr>
        <p:spPr>
          <a:xfrm>
            <a:off x="3178629" y="3344548"/>
            <a:ext cx="2775604" cy="153494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8204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8629" y="490137"/>
            <a:ext cx="8828314" cy="10162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ts val="3600"/>
              </a:lnSpc>
              <a:buNone/>
            </a:pPr>
            <a:r>
              <a:rPr lang="en-US" sz="4400" dirty="0">
                <a:solidFill>
                  <a:srgbClr val="00005F"/>
                </a:solidFill>
                <a:latin typeface="+mj-lt"/>
              </a:rPr>
              <a:t>Employer Talk: Standards Review</a:t>
            </a:r>
            <a:endParaRPr lang="en-US" dirty="0"/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80C9BFA-88F3-4945-870A-A26B73BDE355}"/>
              </a:ext>
            </a:extLst>
          </p:cNvPr>
          <p:cNvSpPr txBox="1"/>
          <p:nvPr/>
        </p:nvSpPr>
        <p:spPr>
          <a:xfrm>
            <a:off x="1355270" y="2362199"/>
            <a:ext cx="49257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defTabSz="844550">
              <a:spcBef>
                <a:spcPct val="0"/>
              </a:spcBef>
              <a:spcAft>
                <a:spcPct val="350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endParaRPr lang="en-US">
              <a:solidFill>
                <a:srgbClr val="001134"/>
              </a:solidFill>
              <a:latin typeface="+mj-lt"/>
              <a:cs typeface="Calibri"/>
            </a:endParaRPr>
          </a:p>
        </p:txBody>
      </p:sp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6E38375A-C48C-F6E6-E0CB-5F020F186F7D}"/>
              </a:ext>
            </a:extLst>
          </p:cNvPr>
          <p:cNvSpPr/>
          <p:nvPr/>
        </p:nvSpPr>
        <p:spPr>
          <a:xfrm>
            <a:off x="930348" y="1786270"/>
            <a:ext cx="3333314" cy="3916523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537B59-54B6-EDE9-21A2-4175E50E2076}"/>
              </a:ext>
            </a:extLst>
          </p:cNvPr>
          <p:cNvSpPr txBox="1"/>
          <p:nvPr/>
        </p:nvSpPr>
        <p:spPr>
          <a:xfrm>
            <a:off x="1142989" y="2631295"/>
            <a:ext cx="29080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800" dirty="0">
                <a:solidFill>
                  <a:schemeClr val="bg1"/>
                </a:solidFill>
                <a:ea typeface="+mn-lt"/>
                <a:cs typeface="+mn-lt"/>
              </a:rPr>
              <a:t>Minimum qualifications</a:t>
            </a:r>
          </a:p>
          <a:p>
            <a:pPr marL="342900" indent="-34290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  <a:ea typeface="+mn-lt"/>
                <a:cs typeface="+mn-lt"/>
              </a:rPr>
              <a:t>Selection procedures</a:t>
            </a:r>
          </a:p>
          <a:p>
            <a:pPr marL="342900" indent="-342900">
              <a:buFont typeface="Arial"/>
              <a:buChar char="•"/>
            </a:pPr>
            <a:r>
              <a:rPr lang="en-US" sz="1800" dirty="0">
                <a:solidFill>
                  <a:schemeClr val="bg1"/>
                </a:solidFill>
                <a:ea typeface="+mn-lt"/>
                <a:cs typeface="+mn-lt"/>
              </a:rPr>
              <a:t>Ideal core knowledge (RI)</a:t>
            </a:r>
          </a:p>
          <a:p>
            <a:pPr marL="342900" indent="-342900">
              <a:buFont typeface="Arial"/>
              <a:buChar char="•"/>
            </a:pPr>
            <a:r>
              <a:rPr lang="en-US" dirty="0">
                <a:solidFill>
                  <a:schemeClr val="bg1"/>
                </a:solidFill>
                <a:ea typeface="+mn-lt"/>
                <a:cs typeface="+mn-lt"/>
              </a:rPr>
              <a:t>Ideal basic foundational skills (OJL)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1D873D-637B-6057-3303-AFC257219BFA}"/>
              </a:ext>
            </a:extLst>
          </p:cNvPr>
          <p:cNvSpPr txBox="1"/>
          <p:nvPr/>
        </p:nvSpPr>
        <p:spPr>
          <a:xfrm>
            <a:off x="1142990" y="1954749"/>
            <a:ext cx="2908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Discuss Program Standard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610748F-F4DB-91A8-6142-098291A4718C}"/>
              </a:ext>
            </a:extLst>
          </p:cNvPr>
          <p:cNvGrpSpPr/>
          <p:nvPr/>
        </p:nvGrpSpPr>
        <p:grpSpPr>
          <a:xfrm>
            <a:off x="8096208" y="1786269"/>
            <a:ext cx="3333314" cy="3916523"/>
            <a:chOff x="4959603" y="1773515"/>
            <a:chExt cx="3333314" cy="3916523"/>
          </a:xfrm>
        </p:grpSpPr>
        <p:sp>
          <p:nvSpPr>
            <p:cNvPr id="8" name="Speech Bubble: Rectangle 7">
              <a:extLst>
                <a:ext uri="{FF2B5EF4-FFF2-40B4-BE49-F238E27FC236}">
                  <a16:creationId xmlns:a16="http://schemas.microsoft.com/office/drawing/2014/main" id="{E2534FAC-7C22-8972-52A1-5813F9861BAC}"/>
                </a:ext>
              </a:extLst>
            </p:cNvPr>
            <p:cNvSpPr/>
            <p:nvPr/>
          </p:nvSpPr>
          <p:spPr>
            <a:xfrm>
              <a:off x="4959603" y="1773515"/>
              <a:ext cx="3333314" cy="3916523"/>
            </a:xfrm>
            <a:prstGeom prst="wedgeRectCallou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8E3DE3E-DD8E-05DE-C15D-6CCC369A1AF2}"/>
                </a:ext>
              </a:extLst>
            </p:cNvPr>
            <p:cNvSpPr txBox="1"/>
            <p:nvPr/>
          </p:nvSpPr>
          <p:spPr>
            <a:xfrm>
              <a:off x="5172244" y="2618540"/>
              <a:ext cx="2908029" cy="2585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Font typeface="Arial"/>
                <a:buChar char="•"/>
              </a:pPr>
              <a:r>
                <a:rPr lang="en-US" sz="1800" dirty="0">
                  <a:solidFill>
                    <a:schemeClr val="bg1"/>
                  </a:solidFill>
                  <a:ea typeface="+mn-lt"/>
                  <a:cs typeface="+mn-lt"/>
                </a:rPr>
                <a:t>Evaluate current program for alignment</a:t>
              </a:r>
            </a:p>
            <a:p>
              <a:pPr marL="800100" lvl="1" indent="-342900">
                <a:buFont typeface="Arial"/>
                <a:buChar char="•"/>
              </a:pPr>
              <a:r>
                <a:rPr lang="en-US" dirty="0">
                  <a:solidFill>
                    <a:schemeClr val="bg1"/>
                  </a:solidFill>
                  <a:ea typeface="+mn-lt"/>
                  <a:cs typeface="+mn-lt"/>
                </a:rPr>
                <a:t>curriculum for RI</a:t>
              </a:r>
            </a:p>
            <a:p>
              <a:pPr marL="800100" lvl="1" indent="-342900">
                <a:buFont typeface="Arial"/>
                <a:buChar char="•"/>
              </a:pPr>
              <a:r>
                <a:rPr lang="en-US" dirty="0">
                  <a:solidFill>
                    <a:schemeClr val="bg1"/>
                  </a:solidFill>
                  <a:ea typeface="+mn-lt"/>
                  <a:cs typeface="+mn-lt"/>
                </a:rPr>
                <a:t>Lab work, WBL for OJL</a:t>
              </a:r>
            </a:p>
            <a:p>
              <a:pPr marL="800100" lvl="1" indent="-342900">
                <a:buFont typeface="Arial"/>
                <a:buChar char="•"/>
              </a:pPr>
              <a:r>
                <a:rPr lang="en-US" dirty="0">
                  <a:solidFill>
                    <a:schemeClr val="bg1"/>
                  </a:solidFill>
                  <a:ea typeface="+mn-lt"/>
                  <a:cs typeface="+mn-lt"/>
                </a:rPr>
                <a:t>Hours (for TB programs) or competencies (for HY/CB programs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C181F2A-3C94-4401-B97D-A593686955C0}"/>
                </a:ext>
              </a:extLst>
            </p:cNvPr>
            <p:cNvSpPr txBox="1"/>
            <p:nvPr/>
          </p:nvSpPr>
          <p:spPr>
            <a:xfrm>
              <a:off x="5172245" y="1941994"/>
              <a:ext cx="26781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Mapping to Program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A732B760-66E0-B2DA-51A3-77CE033C0E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54367" y="1385090"/>
            <a:ext cx="3773973" cy="4495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150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45E46D-1F04-4107-BECA-FC2F92C18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45E46D-1F04-4107-BECA-FC2F92C18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00A33B9-34A1-455E-95A5-8436680733B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3BDE4C8-B3EE-463D-A862-A670713BB8E0}"/>
              </a:ext>
            </a:extLst>
          </p:cNvPr>
          <p:cNvSpPr txBox="1">
            <a:spLocks/>
          </p:cNvSpPr>
          <p:nvPr/>
        </p:nvSpPr>
        <p:spPr>
          <a:xfrm>
            <a:off x="3309258" y="1660123"/>
            <a:ext cx="8240485" cy="460026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8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100"/>
              </a:spcAft>
              <a:buNone/>
            </a:pPr>
            <a:r>
              <a:rPr lang="en-US" sz="3200" b="1" dirty="0">
                <a:latin typeface="Franklin Gothic Book"/>
                <a:ea typeface="Lato"/>
                <a:cs typeface="Lato"/>
                <a:sym typeface="Lato"/>
              </a:rPr>
              <a:t>Mission: Scale partnerships</a:t>
            </a:r>
            <a:r>
              <a:rPr lang="en-US" sz="3200" dirty="0">
                <a:latin typeface="Franklin Gothic Book"/>
                <a:ea typeface="Lato"/>
                <a:cs typeface="Lato"/>
                <a:sym typeface="Lato"/>
              </a:rPr>
              <a:t> to </a:t>
            </a:r>
            <a:r>
              <a:rPr lang="en-US" sz="3200" dirty="0">
                <a:ea typeface="+mn-lt"/>
                <a:cs typeface="+mn-lt"/>
                <a:sym typeface="Lato"/>
              </a:rPr>
              <a:t>accelerate adoption of Registered Apprenticeship (RA) and </a:t>
            </a:r>
            <a:r>
              <a:rPr lang="en-US" sz="3200" b="1" dirty="0">
                <a:ea typeface="+mn-lt"/>
                <a:cs typeface="+mn-lt"/>
                <a:sym typeface="Lato"/>
              </a:rPr>
              <a:t>improve RA </a:t>
            </a:r>
            <a:r>
              <a:rPr lang="en-US" sz="3200" b="1" dirty="0">
                <a:latin typeface="Franklin Gothic Book"/>
                <a:ea typeface="Lato"/>
                <a:cs typeface="Lato"/>
                <a:sym typeface="Lato"/>
              </a:rPr>
              <a:t>alignment</a:t>
            </a:r>
            <a:r>
              <a:rPr lang="en-US" sz="3200" dirty="0">
                <a:latin typeface="Franklin Gothic Book"/>
                <a:ea typeface="Lato"/>
                <a:cs typeface="Lato"/>
                <a:sym typeface="Lato"/>
              </a:rPr>
              <a:t> with our nation's workforce and education systems </a:t>
            </a:r>
            <a:endParaRPr lang="en-US" sz="3200" dirty="0">
              <a:latin typeface="Franklin Gothic Book"/>
              <a:ea typeface="Lato"/>
              <a:cs typeface="Lato"/>
            </a:endParaRPr>
          </a:p>
          <a:p>
            <a:pPr marL="0" indent="0">
              <a:buNone/>
            </a:pPr>
            <a:endParaRPr lang="en-US" sz="3200" dirty="0">
              <a:latin typeface="Franklin Gothic Book"/>
              <a:ea typeface="Lato"/>
              <a:cs typeface="Lato"/>
            </a:endParaRPr>
          </a:p>
          <a:p>
            <a:pPr marL="0" indent="0">
              <a:buFontTx/>
              <a:buNone/>
            </a:pPr>
            <a:endParaRPr lang="en-US" sz="3200" dirty="0">
              <a:solidFill>
                <a:schemeClr val="tx2"/>
              </a:solidFill>
              <a:latin typeface="Franklin Gothic Book"/>
              <a:cs typeface="Arial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C526A02-A0BD-4E1D-868E-E5C7EE76A662}"/>
              </a:ext>
            </a:extLst>
          </p:cNvPr>
          <p:cNvCxnSpPr/>
          <p:nvPr/>
        </p:nvCxnSpPr>
        <p:spPr>
          <a:xfrm>
            <a:off x="3057247" y="1772364"/>
            <a:ext cx="0" cy="4042210"/>
          </a:xfrm>
          <a:prstGeom prst="line">
            <a:avLst/>
          </a:prstGeom>
          <a:ln w="38100">
            <a:solidFill>
              <a:srgbClr val="E1D3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4B63CD1-42FA-447F-93CF-26EB3DBC5AA6}"/>
              </a:ext>
            </a:extLst>
          </p:cNvPr>
          <p:cNvSpPr txBox="1">
            <a:spLocks/>
          </p:cNvSpPr>
          <p:nvPr/>
        </p:nvSpPr>
        <p:spPr>
          <a:xfrm>
            <a:off x="3178629" y="255140"/>
            <a:ext cx="8523514" cy="15172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600"/>
              </a:lnSpc>
            </a:pPr>
            <a:r>
              <a:rPr lang="en-US" sz="4400" dirty="0">
                <a:solidFill>
                  <a:srgbClr val="00005F"/>
                </a:solidFill>
              </a:rPr>
              <a:t>USDOL Center of Excellence</a:t>
            </a:r>
            <a:endParaRPr lang="en-US" dirty="0"/>
          </a:p>
        </p:txBody>
      </p:sp>
      <p:pic>
        <p:nvPicPr>
          <p:cNvPr id="5" name="Graphic 4" descr="Bullseye with solid fill">
            <a:extLst>
              <a:ext uri="{FF2B5EF4-FFF2-40B4-BE49-F238E27FC236}">
                <a16:creationId xmlns:a16="http://schemas.microsoft.com/office/drawing/2014/main" id="{A4E9DC1C-BD6C-4C42-993C-AB19946FA71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9085" y="213560"/>
            <a:ext cx="1382486" cy="1382486"/>
          </a:xfrm>
          <a:prstGeom prst="rect">
            <a:avLst/>
          </a:prstGeom>
        </p:spPr>
      </p:pic>
      <p:pic>
        <p:nvPicPr>
          <p:cNvPr id="13" name="Google Shape;255;p36">
            <a:extLst>
              <a:ext uri="{FF2B5EF4-FFF2-40B4-BE49-F238E27FC236}">
                <a16:creationId xmlns:a16="http://schemas.microsoft.com/office/drawing/2014/main" id="{E68DE04D-F1B3-4336-8F31-9910605CEF70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24529EBF-67C7-1A72-AE01-B00C42E2929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99" y="2507587"/>
            <a:ext cx="1853876" cy="1844048"/>
          </a:xfrm>
          <a:prstGeom prst="rect">
            <a:avLst/>
          </a:prstGeom>
        </p:spPr>
      </p:pic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5A7E3B7A-ACC8-C82A-F44C-4A0E3E8B985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02244" y="6110306"/>
            <a:ext cx="1062600" cy="397731"/>
          </a:xfrm>
          <a:prstGeom prst="rect">
            <a:avLst/>
          </a:prstGeom>
        </p:spPr>
      </p:pic>
      <p:pic>
        <p:nvPicPr>
          <p:cNvPr id="6" name="Picture 7" descr="A picture containing text, sign, outdoor&#10;&#10;Description automatically generated">
            <a:extLst>
              <a:ext uri="{FF2B5EF4-FFF2-40B4-BE49-F238E27FC236}">
                <a16:creationId xmlns:a16="http://schemas.microsoft.com/office/drawing/2014/main" id="{7E78505F-70D8-E983-C7AF-DB021E47913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470604" y="6095915"/>
            <a:ext cx="1597083" cy="386728"/>
          </a:xfrm>
          <a:prstGeom prst="rect">
            <a:avLst/>
          </a:prstGeom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0A7C704E-8F1B-7F24-A686-C9F4C0B99CB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94961" y="6198299"/>
            <a:ext cx="1315940" cy="284344"/>
          </a:xfrm>
          <a:prstGeom prst="rect">
            <a:avLst/>
          </a:prstGeom>
        </p:spPr>
      </p:pic>
      <p:pic>
        <p:nvPicPr>
          <p:cNvPr id="12" name="Picture 9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F30A8A0F-E8B0-FDF7-263E-FD8D3D01D257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284249" y="6146245"/>
            <a:ext cx="1551009" cy="336398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EB596F6F-6F46-6734-F2FA-D212D7408BF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227390" y="6099097"/>
            <a:ext cx="3061829" cy="3835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75147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8629" y="490137"/>
            <a:ext cx="8828314" cy="10162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ts val="3600"/>
              </a:lnSpc>
              <a:buNone/>
            </a:pPr>
            <a:r>
              <a:rPr lang="en-US" sz="4400" dirty="0">
                <a:solidFill>
                  <a:srgbClr val="00005F"/>
                </a:solidFill>
                <a:latin typeface="+mj-lt"/>
              </a:rPr>
              <a:t>Employer Talk: OJL Mapping</a:t>
            </a:r>
            <a:endParaRPr lang="en-US" dirty="0"/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80C9BFA-88F3-4945-870A-A26B73BDE355}"/>
              </a:ext>
            </a:extLst>
          </p:cNvPr>
          <p:cNvSpPr txBox="1"/>
          <p:nvPr/>
        </p:nvSpPr>
        <p:spPr>
          <a:xfrm>
            <a:off x="1355270" y="2362199"/>
            <a:ext cx="49257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defTabSz="844550">
              <a:spcBef>
                <a:spcPct val="0"/>
              </a:spcBef>
              <a:spcAft>
                <a:spcPct val="350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endParaRPr lang="en-US">
              <a:solidFill>
                <a:srgbClr val="001134"/>
              </a:solidFill>
              <a:latin typeface="+mj-lt"/>
              <a:cs typeface="Calibri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2590E02-8A10-3FE7-48A8-2F69397046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8628" y="1181099"/>
            <a:ext cx="4223655" cy="529936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BAA775D-349F-71A4-77A9-B8A0058A75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2786" y="1410587"/>
            <a:ext cx="3730888" cy="498286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E156AA4-26E9-8734-A2C6-B2F5D9D117A4}"/>
              </a:ext>
            </a:extLst>
          </p:cNvPr>
          <p:cNvSpPr txBox="1"/>
          <p:nvPr/>
        </p:nvSpPr>
        <p:spPr>
          <a:xfrm>
            <a:off x="445093" y="2141311"/>
            <a:ext cx="262771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ll RAPs have Work Process (OJL) Outlines</a:t>
            </a:r>
          </a:p>
          <a:p>
            <a:pPr marL="285750" indent="-285750">
              <a:buFontTx/>
              <a:buChar char="-"/>
            </a:pPr>
            <a:r>
              <a:rPr lang="en-US" dirty="0"/>
              <a:t>Show model: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Time-based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Hybrid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Competency-based</a:t>
            </a:r>
          </a:p>
          <a:p>
            <a:pPr marL="285750" indent="-285750">
              <a:buFontTx/>
              <a:buChar char="-"/>
            </a:pPr>
            <a:r>
              <a:rPr lang="en-US" dirty="0"/>
              <a:t>Show core skills required for RAP – can map to CTE lab work, WBL</a:t>
            </a:r>
          </a:p>
        </p:txBody>
      </p:sp>
    </p:spTree>
    <p:extLst>
      <p:ext uri="{BB962C8B-B14F-4D97-AF65-F5344CB8AC3E}">
        <p14:creationId xmlns:p14="http://schemas.microsoft.com/office/powerpoint/2010/main" val="36523399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8629" y="490137"/>
            <a:ext cx="8828314" cy="10162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ts val="3600"/>
              </a:lnSpc>
              <a:buNone/>
            </a:pPr>
            <a:r>
              <a:rPr lang="en-US" sz="4400" dirty="0">
                <a:solidFill>
                  <a:srgbClr val="00005F"/>
                </a:solidFill>
                <a:latin typeface="+mj-lt"/>
              </a:rPr>
              <a:t>Employer Talk: RI Mapping</a:t>
            </a:r>
            <a:endParaRPr lang="en-US" dirty="0"/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80C9BFA-88F3-4945-870A-A26B73BDE355}"/>
              </a:ext>
            </a:extLst>
          </p:cNvPr>
          <p:cNvSpPr txBox="1"/>
          <p:nvPr/>
        </p:nvSpPr>
        <p:spPr>
          <a:xfrm>
            <a:off x="1355270" y="2362199"/>
            <a:ext cx="49257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defTabSz="844550">
              <a:spcBef>
                <a:spcPct val="0"/>
              </a:spcBef>
              <a:spcAft>
                <a:spcPct val="350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endParaRPr lang="en-US">
              <a:solidFill>
                <a:srgbClr val="001134"/>
              </a:solidFill>
              <a:latin typeface="+mj-lt"/>
              <a:cs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156AA4-26E9-8734-A2C6-B2F5D9D117A4}"/>
              </a:ext>
            </a:extLst>
          </p:cNvPr>
          <p:cNvSpPr txBox="1"/>
          <p:nvPr/>
        </p:nvSpPr>
        <p:spPr>
          <a:xfrm>
            <a:off x="445092" y="2141311"/>
            <a:ext cx="356338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ll RAPs have RI Outlines</a:t>
            </a:r>
          </a:p>
          <a:p>
            <a:pPr marL="285750" indent="-285750">
              <a:buFontTx/>
              <a:buChar char="-"/>
            </a:pPr>
            <a:r>
              <a:rPr lang="en-US" dirty="0"/>
              <a:t>Min. 144 hours/</a:t>
            </a:r>
            <a:r>
              <a:rPr lang="en-US" dirty="0" err="1"/>
              <a:t>yr</a:t>
            </a: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Show: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Core technical instruction</a:t>
            </a:r>
          </a:p>
          <a:p>
            <a:pPr marL="742950" lvl="1" indent="-285750">
              <a:buFontTx/>
              <a:buChar char="-"/>
            </a:pPr>
            <a:r>
              <a:rPr lang="en-US" dirty="0"/>
              <a:t>Employability instruc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an be mapped to CTE cours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AF5D95-FD23-A10E-7BC5-FB5FAE35DC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9278" y="1134294"/>
            <a:ext cx="4417395" cy="5351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8831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8629" y="490137"/>
            <a:ext cx="8828314" cy="10162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ts val="3600"/>
              </a:lnSpc>
              <a:buNone/>
            </a:pPr>
            <a:r>
              <a:rPr lang="en-US" sz="4400" dirty="0">
                <a:solidFill>
                  <a:srgbClr val="00005F"/>
                </a:solidFill>
                <a:latin typeface="+mj-lt"/>
              </a:rPr>
              <a:t>Employer Talk: CPE/CPL</a:t>
            </a:r>
            <a:endParaRPr lang="en-US" dirty="0"/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80C9BFA-88F3-4945-870A-A26B73BDE355}"/>
              </a:ext>
            </a:extLst>
          </p:cNvPr>
          <p:cNvSpPr txBox="1"/>
          <p:nvPr/>
        </p:nvSpPr>
        <p:spPr>
          <a:xfrm>
            <a:off x="1355270" y="2362199"/>
            <a:ext cx="49257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defTabSz="844550">
              <a:spcBef>
                <a:spcPct val="0"/>
              </a:spcBef>
              <a:spcAft>
                <a:spcPct val="350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endParaRPr lang="en-US">
              <a:solidFill>
                <a:srgbClr val="001134"/>
              </a:solidFill>
              <a:latin typeface="+mj-lt"/>
              <a:cs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156AA4-26E9-8734-A2C6-B2F5D9D117A4}"/>
              </a:ext>
            </a:extLst>
          </p:cNvPr>
          <p:cNvSpPr txBox="1"/>
          <p:nvPr/>
        </p:nvSpPr>
        <p:spPr>
          <a:xfrm>
            <a:off x="445092" y="2141311"/>
            <a:ext cx="235127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rovide Employer Partner with CPE/CPL Tool</a:t>
            </a:r>
          </a:p>
          <a:p>
            <a:pPr marL="285750" indent="-285750">
              <a:buFontTx/>
              <a:buChar char="-"/>
            </a:pPr>
            <a:r>
              <a:rPr lang="en-US" dirty="0"/>
              <a:t>Maximizes students’ pre-apprenticeship program investment</a:t>
            </a:r>
          </a:p>
          <a:p>
            <a:pPr marL="285750" indent="-285750">
              <a:buFontTx/>
              <a:buChar char="-"/>
            </a:pPr>
            <a:r>
              <a:rPr lang="en-US" dirty="0"/>
              <a:t>Accelerates apprentice program completion timeframe</a:t>
            </a:r>
          </a:p>
          <a:p>
            <a:pPr marL="285750" indent="-285750">
              <a:buFontTx/>
              <a:buChar char="-"/>
            </a:pPr>
            <a:endParaRPr lang="en-US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963F74-8C2F-7DD8-625B-770E4FE611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8629" y="1506435"/>
            <a:ext cx="7517646" cy="4490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5488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8629" y="490137"/>
            <a:ext cx="8828314" cy="10162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ts val="3600"/>
              </a:lnSpc>
              <a:buNone/>
            </a:pPr>
            <a:r>
              <a:rPr lang="en-US" sz="4400" dirty="0">
                <a:solidFill>
                  <a:srgbClr val="00005F"/>
                </a:solidFill>
                <a:latin typeface="+mj-lt"/>
              </a:rPr>
              <a:t>Next Step: Partnership Work</a:t>
            </a:r>
            <a:endParaRPr lang="en-US" dirty="0"/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80C9BFA-88F3-4945-870A-A26B73BDE355}"/>
              </a:ext>
            </a:extLst>
          </p:cNvPr>
          <p:cNvSpPr txBox="1"/>
          <p:nvPr/>
        </p:nvSpPr>
        <p:spPr>
          <a:xfrm>
            <a:off x="1355270" y="2362199"/>
            <a:ext cx="49257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defTabSz="844550">
              <a:spcBef>
                <a:spcPct val="0"/>
              </a:spcBef>
              <a:spcAft>
                <a:spcPct val="350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endParaRPr lang="en-US">
              <a:solidFill>
                <a:srgbClr val="001134"/>
              </a:solidFill>
              <a:latin typeface="+mj-lt"/>
              <a:cs typeface="Calibri"/>
            </a:endParaRPr>
          </a:p>
        </p:txBody>
      </p:sp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6E38375A-C48C-F6E6-E0CB-5F020F186F7D}"/>
              </a:ext>
            </a:extLst>
          </p:cNvPr>
          <p:cNvSpPr/>
          <p:nvPr/>
        </p:nvSpPr>
        <p:spPr>
          <a:xfrm>
            <a:off x="3320386" y="1506435"/>
            <a:ext cx="3333314" cy="3916523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537B59-54B6-EDE9-21A2-4175E50E2076}"/>
              </a:ext>
            </a:extLst>
          </p:cNvPr>
          <p:cNvSpPr txBox="1"/>
          <p:nvPr/>
        </p:nvSpPr>
        <p:spPr>
          <a:xfrm>
            <a:off x="3533027" y="2351460"/>
            <a:ext cx="29080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  <a:ea typeface="+mn-lt"/>
                <a:cs typeface="+mn-lt"/>
              </a:rPr>
              <a:t>Identify employer-based options for pre-RA to RA entry process (i.e. job shadowing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ea typeface="+mn-lt"/>
                <a:cs typeface="+mn-lt"/>
              </a:rPr>
              <a:t>Co-design program application and referral process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1D873D-637B-6057-3303-AFC257219BFA}"/>
              </a:ext>
            </a:extLst>
          </p:cNvPr>
          <p:cNvSpPr txBox="1"/>
          <p:nvPr/>
        </p:nvSpPr>
        <p:spPr>
          <a:xfrm>
            <a:off x="3533028" y="1674914"/>
            <a:ext cx="3120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ollaborating with Employer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27A8AB96-933D-41B4-4956-08AAD8AAEC1D}"/>
              </a:ext>
            </a:extLst>
          </p:cNvPr>
          <p:cNvSpPr/>
          <p:nvPr/>
        </p:nvSpPr>
        <p:spPr>
          <a:xfrm>
            <a:off x="7928340" y="1506435"/>
            <a:ext cx="3333314" cy="3916523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72EF5F-6A37-30F9-EDC0-B247E2265501}"/>
              </a:ext>
            </a:extLst>
          </p:cNvPr>
          <p:cNvSpPr txBox="1"/>
          <p:nvPr/>
        </p:nvSpPr>
        <p:spPr>
          <a:xfrm>
            <a:off x="8140981" y="2351460"/>
            <a:ext cx="29080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  <a:ea typeface="+mn-lt"/>
                <a:cs typeface="+mn-lt"/>
              </a:rPr>
              <a:t>Identify potential support services for pre-apprentices to facilitate completion (i.e. transportation, equipment, etc.)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B77ADA-7326-BCD3-7921-E17E4FE06D69}"/>
              </a:ext>
            </a:extLst>
          </p:cNvPr>
          <p:cNvSpPr txBox="1"/>
          <p:nvPr/>
        </p:nvSpPr>
        <p:spPr>
          <a:xfrm>
            <a:off x="8140982" y="1674914"/>
            <a:ext cx="2678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Working with Workforce</a:t>
            </a:r>
          </a:p>
        </p:txBody>
      </p:sp>
    </p:spTree>
    <p:extLst>
      <p:ext uri="{BB962C8B-B14F-4D97-AF65-F5344CB8AC3E}">
        <p14:creationId xmlns:p14="http://schemas.microsoft.com/office/powerpoint/2010/main" val="468439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8629" y="490137"/>
            <a:ext cx="8828314" cy="10162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ts val="3600"/>
              </a:lnSpc>
              <a:buNone/>
            </a:pPr>
            <a:r>
              <a:rPr lang="en-US" sz="4400" dirty="0">
                <a:solidFill>
                  <a:srgbClr val="00005F"/>
                </a:solidFill>
                <a:latin typeface="+mj-lt"/>
              </a:rPr>
              <a:t>Go To Market</a:t>
            </a:r>
            <a:endParaRPr lang="en-US" dirty="0"/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80C9BFA-88F3-4945-870A-A26B73BDE355}"/>
              </a:ext>
            </a:extLst>
          </p:cNvPr>
          <p:cNvSpPr txBox="1"/>
          <p:nvPr/>
        </p:nvSpPr>
        <p:spPr>
          <a:xfrm>
            <a:off x="1355270" y="2362199"/>
            <a:ext cx="492578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 defTabSz="844550">
              <a:spcBef>
                <a:spcPct val="0"/>
              </a:spcBef>
              <a:spcAft>
                <a:spcPct val="350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endParaRPr lang="en-US">
              <a:solidFill>
                <a:srgbClr val="001134"/>
              </a:solidFill>
              <a:latin typeface="+mj-lt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BCD592-BDB3-7BA7-1393-5FCF81415012}"/>
              </a:ext>
            </a:extLst>
          </p:cNvPr>
          <p:cNvSpPr txBox="1"/>
          <p:nvPr/>
        </p:nvSpPr>
        <p:spPr>
          <a:xfrm>
            <a:off x="3178629" y="1324416"/>
            <a:ext cx="8115300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mployers want to know that successful program completers: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Will have relevant foundational skills (experience can be applied toward OJL requirement through credit for prior experience)</a:t>
            </a:r>
          </a:p>
          <a:p>
            <a:pPr lvl="1"/>
            <a:endParaRPr lang="en-US" dirty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Will have relevant technical knowledge (coursework can be applied to RTI requirement through CPL)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endParaRPr lang="en-US" dirty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have successfully earned related credential/certification – or are equipped and eligible to test out</a:t>
            </a:r>
          </a:p>
          <a:p>
            <a:pPr lvl="1"/>
            <a:endParaRPr lang="en-US" dirty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meet minimum qualifications </a:t>
            </a:r>
          </a:p>
          <a:p>
            <a:pPr lvl="1"/>
            <a:endParaRPr lang="en-US" dirty="0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may be eligible for continued workforce supportive services during RAP</a:t>
            </a:r>
          </a:p>
          <a:p>
            <a:endParaRPr lang="en-US" dirty="0"/>
          </a:p>
          <a:p>
            <a:br>
              <a:rPr lang="en-US" b="1" dirty="0"/>
            </a:br>
            <a:r>
              <a:rPr lang="en-US" sz="2200" b="1" i="1" dirty="0"/>
              <a:t>Goal:</a:t>
            </a:r>
            <a:r>
              <a:rPr lang="en-US" sz="2200" i="1" dirty="0"/>
              <a:t> Direct entry agreement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2" name="Star: 5 Points 1">
            <a:extLst>
              <a:ext uri="{FF2B5EF4-FFF2-40B4-BE49-F238E27FC236}">
                <a16:creationId xmlns:a16="http://schemas.microsoft.com/office/drawing/2014/main" id="{35BA2540-1859-764C-8FEC-ED69F1FE69FB}"/>
              </a:ext>
            </a:extLst>
          </p:cNvPr>
          <p:cNvSpPr/>
          <p:nvPr/>
        </p:nvSpPr>
        <p:spPr>
          <a:xfrm>
            <a:off x="2360428" y="5550195"/>
            <a:ext cx="818201" cy="757554"/>
          </a:xfrm>
          <a:prstGeom prst="star5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1539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78629" y="385805"/>
            <a:ext cx="9013371" cy="101629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ts val="3600"/>
              </a:lnSpc>
              <a:buNone/>
            </a:pPr>
            <a:r>
              <a:rPr lang="en-US" sz="4400" dirty="0">
                <a:solidFill>
                  <a:srgbClr val="00005F"/>
                </a:solidFill>
                <a:latin typeface="+mj-lt"/>
              </a:rPr>
              <a:t>Thank You</a:t>
            </a:r>
            <a:endParaRPr lang="en-US" dirty="0"/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A7F466C-A5BB-4D88-B064-D47683B8A31E}"/>
              </a:ext>
            </a:extLst>
          </p:cNvPr>
          <p:cNvSpPr txBox="1"/>
          <p:nvPr/>
        </p:nvSpPr>
        <p:spPr>
          <a:xfrm>
            <a:off x="2008416" y="2906485"/>
            <a:ext cx="3761014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lvl="0" indent="-342900" algn="l" defTabSz="844550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>
                <a:srgbClr val="CCB733"/>
              </a:buClr>
              <a:buFont typeface="Wingdings" panose="05000000000000000000" pitchFamily="2" charset="2"/>
              <a:buChar char="§"/>
            </a:pPr>
            <a:endParaRPr lang="en-US" sz="1800" kern="1200">
              <a:solidFill>
                <a:srgbClr val="001134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8C8A32D-9B63-C94E-EBE2-27D96C2AC854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CC52309-5CA8-4427-98D5-D1042D311034}"/>
              </a:ext>
            </a:extLst>
          </p:cNvPr>
          <p:cNvSpPr txBox="1"/>
          <p:nvPr/>
        </p:nvSpPr>
        <p:spPr>
          <a:xfrm>
            <a:off x="4394514" y="1625216"/>
            <a:ext cx="6332761" cy="21005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000000"/>
                </a:solidFill>
                <a:latin typeface="Franklin Gothic Medium"/>
                <a:ea typeface="Lato"/>
                <a:cs typeface="Lato"/>
              </a:rPr>
              <a:t>Katie Adam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Lato"/>
              <a:cs typeface="La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Lato"/>
                <a:cs typeface="Lato"/>
              </a:rPr>
              <a:t>Senior Dire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 err="1">
                <a:solidFill>
                  <a:srgbClr val="000000"/>
                </a:solidFill>
                <a:latin typeface="Franklin Gothic Medium" panose="020B0603020102020204"/>
                <a:ea typeface="Lato"/>
                <a:cs typeface="Lato"/>
                <a:hlinkClick r:id="rId7"/>
              </a:rPr>
              <a:t>katie.adams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 panose="020B0603020102020204"/>
                <a:ea typeface="Lato"/>
                <a:cs typeface="Lato"/>
                <a:hlinkClick r:id="rId7"/>
              </a:rPr>
              <a:t>@safalpartners.com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Lato"/>
              <a:cs typeface="La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lang="en-US" sz="3200" dirty="0">
              <a:solidFill>
                <a:srgbClr val="000000"/>
              </a:solidFill>
              <a:latin typeface="Franklin Gothic Medium"/>
              <a:ea typeface="Lato"/>
              <a:cs typeface="Lato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CC32197-863D-4FFD-BAD9-6E6FF4246441}"/>
              </a:ext>
            </a:extLst>
          </p:cNvPr>
          <p:cNvSpPr/>
          <p:nvPr/>
        </p:nvSpPr>
        <p:spPr>
          <a:xfrm>
            <a:off x="10841072" y="1880019"/>
            <a:ext cx="45719" cy="4571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283D70B-E706-64FD-2A72-93BD7F41A7FC}"/>
              </a:ext>
            </a:extLst>
          </p:cNvPr>
          <p:cNvGrpSpPr/>
          <p:nvPr/>
        </p:nvGrpSpPr>
        <p:grpSpPr>
          <a:xfrm>
            <a:off x="9115189" y="4128281"/>
            <a:ext cx="1717557" cy="1580239"/>
            <a:chOff x="9357361" y="3233670"/>
            <a:chExt cx="2115170" cy="210387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DB57A99-6D1A-932C-B83A-794C67617903}"/>
                </a:ext>
              </a:extLst>
            </p:cNvPr>
            <p:cNvSpPr/>
            <p:nvPr/>
          </p:nvSpPr>
          <p:spPr>
            <a:xfrm>
              <a:off x="9357361" y="3233670"/>
              <a:ext cx="2115170" cy="2103874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7" descr="Qr code&#10;&#10;Description automatically generated">
              <a:extLst>
                <a:ext uri="{FF2B5EF4-FFF2-40B4-BE49-F238E27FC236}">
                  <a16:creationId xmlns:a16="http://schemas.microsoft.com/office/drawing/2014/main" id="{30FD05C9-836A-8F15-6120-767DC825FB9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472952" y="3346168"/>
              <a:ext cx="1869692" cy="1837111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10873A1A-9F78-BE34-6CAF-7359A0A99487}"/>
              </a:ext>
            </a:extLst>
          </p:cNvPr>
          <p:cNvSpPr txBox="1"/>
          <p:nvPr/>
        </p:nvSpPr>
        <p:spPr>
          <a:xfrm>
            <a:off x="5126616" y="3948905"/>
            <a:ext cx="3976964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u="sng" dirty="0"/>
              <a:t>Connect with the Center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 https://dolcoe.safalapps.com</a:t>
            </a:r>
            <a:br>
              <a:rPr lang="en-US" sz="2000" dirty="0"/>
            </a:br>
            <a:endParaRPr lang="en-US" sz="2000" dirty="0"/>
          </a:p>
          <a:p>
            <a:r>
              <a:rPr lang="en-US" sz="2000" b="1" u="sng" dirty="0"/>
              <a:t>Become a Partner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Open your camera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Scan QR cod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87951B3-1EDA-4BED-6BB7-2E44FC68DAE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05209" y="1712007"/>
            <a:ext cx="2627485" cy="275828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2857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45E46D-1F04-4107-BECA-FC2F92C18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45E46D-1F04-4107-BECA-FC2F92C18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00A33B9-34A1-455E-95A5-8436680733B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3BDE4C8-B3EE-463D-A862-A670713BB8E0}"/>
              </a:ext>
            </a:extLst>
          </p:cNvPr>
          <p:cNvSpPr txBox="1">
            <a:spLocks/>
          </p:cNvSpPr>
          <p:nvPr/>
        </p:nvSpPr>
        <p:spPr>
          <a:xfrm>
            <a:off x="3297163" y="1514980"/>
            <a:ext cx="8240485" cy="48179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8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3255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400" dirty="0">
                <a:solidFill>
                  <a:srgbClr val="00005F"/>
                </a:solidFill>
                <a:ea typeface="+mn-lt"/>
                <a:cs typeface="+mn-lt"/>
              </a:rPr>
              <a:t>Provide technical assistance (TA) on a national scale to:</a:t>
            </a:r>
          </a:p>
          <a:p>
            <a:pPr marL="1100455" lvl="1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000" dirty="0">
                <a:solidFill>
                  <a:srgbClr val="00005F"/>
                </a:solidFill>
                <a:ea typeface="Lato"/>
                <a:cs typeface="Lato"/>
              </a:rPr>
              <a:t>RA program sponsors </a:t>
            </a:r>
          </a:p>
          <a:p>
            <a:pPr marL="1100455" lvl="1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000" dirty="0">
                <a:solidFill>
                  <a:srgbClr val="00005F"/>
                </a:solidFill>
                <a:latin typeface="Franklin Gothic Book"/>
                <a:ea typeface="Lato"/>
                <a:cs typeface="Lato"/>
              </a:rPr>
              <a:t>State and local workforce boards and American Job Center (AJC) programs and operators</a:t>
            </a:r>
            <a:endParaRPr lang="en-US" sz="1200" dirty="0"/>
          </a:p>
          <a:p>
            <a:pPr marL="1100455" lvl="1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000" dirty="0">
                <a:solidFill>
                  <a:srgbClr val="00005F"/>
                </a:solidFill>
                <a:latin typeface="Franklin Gothic Book"/>
                <a:ea typeface="Lato"/>
                <a:cs typeface="Lato"/>
              </a:rPr>
              <a:t>K-12, college and university AE and Career and Technical Education programs</a:t>
            </a:r>
          </a:p>
          <a:p>
            <a:pPr marL="1100455" lvl="1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000" dirty="0">
                <a:solidFill>
                  <a:srgbClr val="00005F"/>
                </a:solidFill>
                <a:latin typeface="Franklin Gothic Book"/>
                <a:ea typeface="Lato"/>
                <a:cs typeface="Lato"/>
              </a:rPr>
              <a:t>State and federal policymakers</a:t>
            </a:r>
            <a:endParaRPr lang="en-US" sz="2400" dirty="0">
              <a:ea typeface="+mn-lt"/>
              <a:cs typeface="+mn-lt"/>
            </a:endParaRPr>
          </a:p>
          <a:p>
            <a:pPr marL="643255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400" dirty="0">
                <a:solidFill>
                  <a:srgbClr val="00005F"/>
                </a:solidFill>
                <a:ea typeface="+mn-lt"/>
                <a:cs typeface="+mn-lt"/>
              </a:rPr>
              <a:t>Engage and build partnership with and between essential RA stakeholders </a:t>
            </a:r>
            <a:endParaRPr lang="en-US" sz="2400" dirty="0">
              <a:ea typeface="+mn-lt"/>
              <a:cs typeface="+mn-lt"/>
            </a:endParaRPr>
          </a:p>
          <a:p>
            <a:pPr marL="643255" indent="-457200">
              <a:spcBef>
                <a:spcPts val="1333"/>
              </a:spcBef>
              <a:spcAft>
                <a:spcPts val="1333"/>
              </a:spcAft>
              <a:buFont typeface="Wingdings,Sans-Serif"/>
              <a:buChar char="§"/>
            </a:pPr>
            <a:r>
              <a:rPr lang="en-US" sz="2400" dirty="0">
                <a:solidFill>
                  <a:srgbClr val="00005F"/>
                </a:solidFill>
                <a:ea typeface="+mn-lt"/>
                <a:cs typeface="+mn-lt"/>
              </a:rPr>
              <a:t>Coordinate with federal and state investments</a:t>
            </a:r>
            <a:endParaRPr lang="en-US" sz="2400" dirty="0">
              <a:ea typeface="+mn-lt"/>
              <a:cs typeface="+mn-lt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C526A02-A0BD-4E1D-868E-E5C7EE76A662}"/>
              </a:ext>
            </a:extLst>
          </p:cNvPr>
          <p:cNvCxnSpPr/>
          <p:nvPr/>
        </p:nvCxnSpPr>
        <p:spPr>
          <a:xfrm>
            <a:off x="3057247" y="1772364"/>
            <a:ext cx="0" cy="4042210"/>
          </a:xfrm>
          <a:prstGeom prst="line">
            <a:avLst/>
          </a:prstGeom>
          <a:ln w="38100">
            <a:solidFill>
              <a:srgbClr val="E1D3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4B63CD1-42FA-447F-93CF-26EB3DBC5AA6}"/>
              </a:ext>
            </a:extLst>
          </p:cNvPr>
          <p:cNvSpPr txBox="1">
            <a:spLocks/>
          </p:cNvSpPr>
          <p:nvPr/>
        </p:nvSpPr>
        <p:spPr>
          <a:xfrm>
            <a:off x="3178629" y="255140"/>
            <a:ext cx="8862180" cy="10162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1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600"/>
              </a:lnSpc>
            </a:pPr>
            <a:r>
              <a:rPr lang="en-US" sz="4400" dirty="0">
                <a:solidFill>
                  <a:srgbClr val="00005F"/>
                </a:solidFill>
              </a:rPr>
              <a:t>Our Work – Three Strategies</a:t>
            </a:r>
          </a:p>
        </p:txBody>
      </p:sp>
      <p:pic>
        <p:nvPicPr>
          <p:cNvPr id="5" name="Graphic 4" descr="Target with solid fill">
            <a:extLst>
              <a:ext uri="{FF2B5EF4-FFF2-40B4-BE49-F238E27FC236}">
                <a16:creationId xmlns:a16="http://schemas.microsoft.com/office/drawing/2014/main" id="{A4E9DC1C-BD6C-4C42-993C-AB19946FA71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49085" y="213560"/>
            <a:ext cx="1382486" cy="1382486"/>
          </a:xfrm>
          <a:prstGeom prst="rect">
            <a:avLst/>
          </a:prstGeom>
        </p:spPr>
      </p:pic>
      <p:pic>
        <p:nvPicPr>
          <p:cNvPr id="2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5D8D53F-562F-9448-C7C6-0CCCCEA74D21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27279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B39BE-3BB4-3C4E-BF53-644115DBF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enticeship: Why and What</a:t>
            </a:r>
          </a:p>
        </p:txBody>
      </p:sp>
    </p:spTree>
    <p:extLst>
      <p:ext uri="{BB962C8B-B14F-4D97-AF65-F5344CB8AC3E}">
        <p14:creationId xmlns:p14="http://schemas.microsoft.com/office/powerpoint/2010/main" val="319893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2480" y="617027"/>
            <a:ext cx="8602463" cy="887626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4800" dirty="0">
                <a:solidFill>
                  <a:schemeClr val="tx2"/>
                </a:solidFill>
              </a:rPr>
              <a:t>Understanding Apprenticeship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C27F13-456E-4936-B4DA-DACBB67EABA0}"/>
              </a:ext>
            </a:extLst>
          </p:cNvPr>
          <p:cNvSpPr txBox="1">
            <a:spLocks/>
          </p:cNvSpPr>
          <p:nvPr/>
        </p:nvSpPr>
        <p:spPr>
          <a:xfrm>
            <a:off x="671499" y="1855655"/>
            <a:ext cx="4479976" cy="36125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3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4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Clr>
                <a:srgbClr val="00005F"/>
              </a:buClr>
              <a:buNone/>
            </a:pPr>
            <a:endParaRPr lang="en-US" b="1" u="sng">
              <a:latin typeface="Franklin Gothic Medium"/>
              <a:ea typeface="Lato"/>
              <a:cs typeface="Lato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CE3274F-415E-4315-A083-B83996316070}"/>
              </a:ext>
            </a:extLst>
          </p:cNvPr>
          <p:cNvSpPr txBox="1">
            <a:spLocks/>
          </p:cNvSpPr>
          <p:nvPr/>
        </p:nvSpPr>
        <p:spPr>
          <a:xfrm>
            <a:off x="6590289" y="1820215"/>
            <a:ext cx="5277419" cy="36125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3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4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Clr>
                <a:srgbClr val="00005F"/>
              </a:buClr>
              <a:buNone/>
            </a:pPr>
            <a:endParaRPr lang="en-US" b="1" u="sng">
              <a:latin typeface="Franklin Gothic Medium"/>
              <a:ea typeface="Lato"/>
              <a:cs typeface="Lato"/>
            </a:endParaRPr>
          </a:p>
        </p:txBody>
      </p:sp>
      <p:pic>
        <p:nvPicPr>
          <p:cNvPr id="3" name="Graphic 2" descr="Clipboard Checked with solid fill">
            <a:extLst>
              <a:ext uri="{FF2B5EF4-FFF2-40B4-BE49-F238E27FC236}">
                <a16:creationId xmlns:a16="http://schemas.microsoft.com/office/drawing/2014/main" id="{5A3AF850-FE08-F591-3B2E-93FEEF70C4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2377" y="102894"/>
            <a:ext cx="1039586" cy="1039586"/>
          </a:xfrm>
          <a:prstGeom prst="rect">
            <a:avLst/>
          </a:prstGeom>
        </p:spPr>
      </p:pic>
      <p:pic>
        <p:nvPicPr>
          <p:cNvPr id="4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704D782-CB0C-47BA-28C9-45290A57049E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F1258DE-ED5C-73C7-5A93-3561EB7FBA4B}"/>
              </a:ext>
            </a:extLst>
          </p:cNvPr>
          <p:cNvSpPr txBox="1"/>
          <p:nvPr/>
        </p:nvSpPr>
        <p:spPr>
          <a:xfrm>
            <a:off x="1078524" y="2262554"/>
            <a:ext cx="9870829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/>
              <a:buChar char="q"/>
            </a:pPr>
            <a:r>
              <a:rPr lang="en-US" sz="2400" dirty="0">
                <a:latin typeface="Franklin Gothic Book"/>
              </a:rPr>
              <a:t>How would you rate your general knowledge of Registered Apprenticeship?</a:t>
            </a:r>
          </a:p>
          <a:p>
            <a:endParaRPr lang="en-US" sz="2400" dirty="0">
              <a:ea typeface="+mn-lt"/>
              <a:cs typeface="+mn-lt"/>
            </a:endParaRPr>
          </a:p>
          <a:p>
            <a:pPr marL="285750" indent="-285750">
              <a:buFont typeface="Wingdings"/>
              <a:buChar char="q"/>
            </a:pPr>
            <a:r>
              <a:rPr lang="en-US" sz="2400" dirty="0">
                <a:ea typeface="+mn-lt"/>
                <a:cs typeface="+mn-lt"/>
              </a:rPr>
              <a:t>How would you rate your knowledge of the existing Registered Apprenticeship programs in your local area?</a:t>
            </a:r>
          </a:p>
        </p:txBody>
      </p:sp>
    </p:spTree>
    <p:extLst>
      <p:ext uri="{BB962C8B-B14F-4D97-AF65-F5344CB8AC3E}">
        <p14:creationId xmlns:p14="http://schemas.microsoft.com/office/powerpoint/2010/main" val="697298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7081" y="324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tx2"/>
                </a:solidFill>
              </a:rPr>
              <a:t>What is Apprenticeship?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B7EFE3E-EFFA-4E68-A588-3004820B182B}"/>
              </a:ext>
            </a:extLst>
          </p:cNvPr>
          <p:cNvSpPr txBox="1">
            <a:spLocks/>
          </p:cNvSpPr>
          <p:nvPr/>
        </p:nvSpPr>
        <p:spPr>
          <a:xfrm>
            <a:off x="5396024" y="1235175"/>
            <a:ext cx="6003958" cy="49446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latin typeface="Franklin Gothic Book"/>
                <a:cs typeface="Segoe UI"/>
              </a:rPr>
              <a:t>Registered Apprenticeship is an </a:t>
            </a:r>
            <a:r>
              <a:rPr lang="en-US" b="1">
                <a:solidFill>
                  <a:schemeClr val="tx2"/>
                </a:solidFill>
                <a:latin typeface="Franklin Gothic Book"/>
                <a:cs typeface="Segoe UI"/>
              </a:rPr>
              <a:t>industry-driven, high-quality</a:t>
            </a:r>
            <a:r>
              <a:rPr lang="en-US">
                <a:latin typeface="Franklin Gothic Book"/>
                <a:cs typeface="Segoe UI"/>
              </a:rPr>
              <a:t> career pathway enabling employers to </a:t>
            </a:r>
            <a:r>
              <a:rPr lang="en-US" b="1">
                <a:solidFill>
                  <a:schemeClr val="tx2"/>
                </a:solidFill>
                <a:latin typeface="Franklin Gothic Book"/>
                <a:cs typeface="Segoe UI"/>
              </a:rPr>
              <a:t>develop new hires</a:t>
            </a:r>
            <a:r>
              <a:rPr lang="en-US">
                <a:latin typeface="Franklin Gothic Book"/>
                <a:cs typeface="Segoe UI"/>
              </a:rPr>
              <a:t> and </a:t>
            </a:r>
            <a:r>
              <a:rPr lang="en-US" b="1">
                <a:solidFill>
                  <a:schemeClr val="tx2"/>
                </a:solidFill>
                <a:latin typeface="Franklin Gothic Book"/>
                <a:cs typeface="Segoe UI"/>
              </a:rPr>
              <a:t>upskill current workers</a:t>
            </a:r>
            <a:r>
              <a:rPr lang="en-US">
                <a:latin typeface="Franklin Gothic Book"/>
                <a:cs typeface="Segoe UI"/>
              </a:rPr>
              <a:t> for critical occupations. </a:t>
            </a:r>
            <a:endParaRPr lang="en-US">
              <a:solidFill>
                <a:schemeClr val="tx2"/>
              </a:solidFill>
              <a:latin typeface="Franklin Gothic Book"/>
              <a:cs typeface="Segoe UI" panose="020B05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8E77CF3-8B98-472E-93F2-87731AFC90B0}"/>
              </a:ext>
            </a:extLst>
          </p:cNvPr>
          <p:cNvSpPr/>
          <p:nvPr/>
        </p:nvSpPr>
        <p:spPr>
          <a:xfrm>
            <a:off x="5196155" y="2318372"/>
            <a:ext cx="72571" cy="29401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D48FAF4-B714-499C-9260-08D2081F4372}"/>
              </a:ext>
            </a:extLst>
          </p:cNvPr>
          <p:cNvSpPr txBox="1">
            <a:spLocks/>
          </p:cNvSpPr>
          <p:nvPr/>
        </p:nvSpPr>
        <p:spPr>
          <a:xfrm>
            <a:off x="604024" y="1242363"/>
            <a:ext cx="4306682" cy="49374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4000" b="1" dirty="0">
                <a:latin typeface="Franklin Gothic Book"/>
                <a:cs typeface="Segoe UI"/>
              </a:rPr>
              <a:t>A Proven Workforce </a:t>
            </a:r>
            <a:endParaRPr lang="en-US" dirty="0"/>
          </a:p>
          <a:p>
            <a:pPr algn="r"/>
            <a:r>
              <a:rPr lang="en-US" sz="4000" b="1" dirty="0">
                <a:latin typeface="Franklin Gothic Book"/>
                <a:cs typeface="Segoe UI"/>
              </a:rPr>
              <a:t>Solution</a:t>
            </a:r>
            <a:endParaRPr lang="en-US" dirty="0"/>
          </a:p>
        </p:txBody>
      </p:sp>
      <p:pic>
        <p:nvPicPr>
          <p:cNvPr id="8" name="Graphic 1" descr="Aperture with solid fill">
            <a:extLst>
              <a:ext uri="{FF2B5EF4-FFF2-40B4-BE49-F238E27FC236}">
                <a16:creationId xmlns:a16="http://schemas.microsoft.com/office/drawing/2014/main" id="{5FB829F6-DF95-47DD-8C06-BE97605C43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3710" y="138805"/>
            <a:ext cx="1301425" cy="1301425"/>
          </a:xfrm>
          <a:prstGeom prst="rect">
            <a:avLst/>
          </a:prstGeom>
        </p:spPr>
      </p:pic>
      <p:pic>
        <p:nvPicPr>
          <p:cNvPr id="4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DF8F2A5-287F-FEE7-2BCD-75F494156AA0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14999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52" y="197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2"/>
                </a:solidFill>
              </a:rPr>
              <a:t>Five Core Components</a:t>
            </a:r>
          </a:p>
        </p:txBody>
      </p:sp>
      <p:pic>
        <p:nvPicPr>
          <p:cNvPr id="5" name="Graphic 4" descr="Clipboard Checked with solid fill">
            <a:extLst>
              <a:ext uri="{FF2B5EF4-FFF2-40B4-BE49-F238E27FC236}">
                <a16:creationId xmlns:a16="http://schemas.microsoft.com/office/drawing/2014/main" id="{BFB5D931-0217-441B-BDB7-58ADD1F3E9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0599" y="314561"/>
            <a:ext cx="1039586" cy="1039586"/>
          </a:xfrm>
          <a:prstGeom prst="rect">
            <a:avLst/>
          </a:prstGeom>
        </p:spPr>
      </p:pic>
      <p:pic>
        <p:nvPicPr>
          <p:cNvPr id="4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DED15BB-7181-4F18-A369-464BEB9F54F2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pic>
        <p:nvPicPr>
          <p:cNvPr id="47106" name="Picture 2" descr="Apprenticeships: A Pipeline for an Inclusive Recovery">
            <a:extLst>
              <a:ext uri="{FF2B5EF4-FFF2-40B4-BE49-F238E27FC236}">
                <a16:creationId xmlns:a16="http://schemas.microsoft.com/office/drawing/2014/main" id="{42320B5F-A04D-3020-5068-C995BA35FC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20"/>
          <a:stretch/>
        </p:blipFill>
        <p:spPr bwMode="auto">
          <a:xfrm>
            <a:off x="492642" y="2101034"/>
            <a:ext cx="11206716" cy="312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3794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2293" y="813974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2"/>
                </a:solidFill>
              </a:rPr>
              <a:t>What’s Driving RA Expansion? </a:t>
            </a:r>
          </a:p>
        </p:txBody>
      </p:sp>
      <p:pic>
        <p:nvPicPr>
          <p:cNvPr id="7" name="Graphic 1" descr="Classroom with solid fill">
            <a:extLst>
              <a:ext uri="{FF2B5EF4-FFF2-40B4-BE49-F238E27FC236}">
                <a16:creationId xmlns:a16="http://schemas.microsoft.com/office/drawing/2014/main" id="{0C7E5B59-EA90-42F0-8155-A2006C0CA5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313" y="187561"/>
            <a:ext cx="1039586" cy="103958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C27F13-456E-4936-B4DA-DACBB67EABA0}"/>
              </a:ext>
            </a:extLst>
          </p:cNvPr>
          <p:cNvSpPr txBox="1">
            <a:spLocks/>
          </p:cNvSpPr>
          <p:nvPr/>
        </p:nvSpPr>
        <p:spPr>
          <a:xfrm>
            <a:off x="1046451" y="1807274"/>
            <a:ext cx="4479976" cy="36125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6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7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8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Clr>
                <a:srgbClr val="00005F"/>
              </a:buClr>
              <a:buNone/>
            </a:pPr>
            <a:r>
              <a:rPr lang="en-US" b="1" u="sng">
                <a:latin typeface="Franklin Gothic Book"/>
                <a:ea typeface="Lato"/>
                <a:cs typeface="Lato"/>
              </a:rPr>
              <a:t>Facts</a:t>
            </a: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>
                <a:latin typeface="Franklin Gothic Book"/>
                <a:ea typeface="Lato"/>
                <a:cs typeface="Lato"/>
                <a:sym typeface="Lato"/>
              </a:rPr>
              <a:t>Half-life of skills is five years</a:t>
            </a:r>
            <a:endParaRPr lang="en-US">
              <a:latin typeface="Franklin Gothic Book"/>
              <a:ea typeface="Lato"/>
              <a:cs typeface="Lato"/>
            </a:endParaRP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>
                <a:latin typeface="Franklin Gothic Book"/>
                <a:ea typeface="Lato"/>
                <a:cs typeface="Lato"/>
                <a:sym typeface="Lato"/>
              </a:rPr>
              <a:t>Shrinking</a:t>
            </a:r>
            <a:r>
              <a:rPr lang="en-US">
                <a:latin typeface="Franklin Gothic Book"/>
                <a:ea typeface="Lato"/>
                <a:cs typeface="Lato"/>
              </a:rPr>
              <a:t> labor market participation rate</a:t>
            </a: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>
                <a:latin typeface="Franklin Gothic Book"/>
                <a:ea typeface="Lato"/>
                <a:cs typeface="Lato"/>
              </a:rPr>
              <a:t>Rapidly evolving technology, Artificial Intelligence (AI), automation, robotic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CE3274F-415E-4315-A083-B83996316070}"/>
              </a:ext>
            </a:extLst>
          </p:cNvPr>
          <p:cNvSpPr txBox="1">
            <a:spLocks/>
          </p:cNvSpPr>
          <p:nvPr/>
        </p:nvSpPr>
        <p:spPr>
          <a:xfrm>
            <a:off x="6865324" y="1808121"/>
            <a:ext cx="5277419" cy="36125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6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7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8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Clr>
                <a:srgbClr val="00005F"/>
              </a:buClr>
              <a:buNone/>
            </a:pPr>
            <a:r>
              <a:rPr lang="en-US" b="1" u="sng">
                <a:latin typeface="Franklin Gothic Book"/>
                <a:ea typeface="Lato"/>
                <a:cs typeface="Lato"/>
                <a:sym typeface="Lato"/>
              </a:rPr>
              <a:t>Implications</a:t>
            </a:r>
            <a:endParaRPr lang="en-US" b="1" u="sng">
              <a:latin typeface="Franklin Gothic Book"/>
            </a:endParaRP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 sz="2600">
                <a:latin typeface="Franklin Gothic Book"/>
                <a:ea typeface="Lato"/>
                <a:cs typeface="Lato"/>
                <a:sym typeface="Lato"/>
              </a:rPr>
              <a:t>Shift from K-12 to lifelong learning </a:t>
            </a:r>
            <a:endParaRPr lang="en-US" sz="2600">
              <a:latin typeface="Franklin Gothic Book"/>
              <a:ea typeface="Lato"/>
              <a:cs typeface="Lato"/>
            </a:endParaRP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 sz="2600">
                <a:latin typeface="Franklin Gothic Book"/>
                <a:ea typeface="Lato"/>
                <a:cs typeface="Lato"/>
                <a:sym typeface="Lato"/>
              </a:rPr>
              <a:t>Career pathways with opportunities for advancement not just a job</a:t>
            </a:r>
            <a:endParaRPr lang="en-US" sz="2600">
              <a:latin typeface="Franklin Gothic Book"/>
              <a:ea typeface="Lato"/>
              <a:cs typeface="Lato"/>
            </a:endParaRP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 sz="2600">
                <a:latin typeface="Franklin Gothic Book"/>
                <a:ea typeface="Lato"/>
                <a:cs typeface="Lato"/>
              </a:rPr>
              <a:t>Businesses will need to "build, not buy" talent by training them</a:t>
            </a:r>
            <a:endParaRPr lang="en-US" sz="2600">
              <a:latin typeface="Franklin Gothic Book"/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CA6C0BC8-C9EC-4174-BFA0-CD8C3B99A75E}"/>
              </a:ext>
            </a:extLst>
          </p:cNvPr>
          <p:cNvSpPr/>
          <p:nvPr/>
        </p:nvSpPr>
        <p:spPr>
          <a:xfrm>
            <a:off x="5318252" y="2537557"/>
            <a:ext cx="974651" cy="4873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3C7B6C3C-4C53-4148-B96C-0978524788C0}"/>
              </a:ext>
            </a:extLst>
          </p:cNvPr>
          <p:cNvSpPr/>
          <p:nvPr/>
        </p:nvSpPr>
        <p:spPr>
          <a:xfrm>
            <a:off x="5344833" y="3521068"/>
            <a:ext cx="974651" cy="4873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BC12B7D1-6189-46EE-9A25-06A706E7854D}"/>
              </a:ext>
            </a:extLst>
          </p:cNvPr>
          <p:cNvSpPr/>
          <p:nvPr/>
        </p:nvSpPr>
        <p:spPr>
          <a:xfrm>
            <a:off x="5344832" y="4504579"/>
            <a:ext cx="974651" cy="4873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D683859-DFD5-092F-FB16-1F4B9A54026D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0265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52" y="197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tx2"/>
                </a:solidFill>
              </a:rPr>
              <a:t>Spanning all Sectors</a:t>
            </a:r>
          </a:p>
        </p:txBody>
      </p:sp>
      <p:pic>
        <p:nvPicPr>
          <p:cNvPr id="5" name="Graphic 4" descr="Clipboard Checked with solid fill">
            <a:extLst>
              <a:ext uri="{FF2B5EF4-FFF2-40B4-BE49-F238E27FC236}">
                <a16:creationId xmlns:a16="http://schemas.microsoft.com/office/drawing/2014/main" id="{BFB5D931-0217-441B-BDB7-58ADD1F3E9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0599" y="314561"/>
            <a:ext cx="1039586" cy="1039586"/>
          </a:xfrm>
          <a:prstGeom prst="rect">
            <a:avLst/>
          </a:prstGeom>
        </p:spPr>
      </p:pic>
      <p:pic>
        <p:nvPicPr>
          <p:cNvPr id="4" name="Picture 5" descr="Diagram&#10;&#10;Description automatically generated">
            <a:extLst>
              <a:ext uri="{FF2B5EF4-FFF2-40B4-BE49-F238E27FC236}">
                <a16:creationId xmlns:a16="http://schemas.microsoft.com/office/drawing/2014/main" id="{6DB82FBC-89AA-479C-A6F2-912BB3ADE2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1973" y="1717543"/>
            <a:ext cx="10922419" cy="4399263"/>
          </a:xfrm>
          <a:prstGeom prst="rect">
            <a:avLst/>
          </a:prstGeom>
        </p:spPr>
      </p:pic>
      <p:pic>
        <p:nvPicPr>
          <p:cNvPr id="7" name="Google Shape;255;p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D4B2294-47E9-E9B5-64EF-E4AD667B575C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98209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2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mgMiOEaQHw3lEd.Pk8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46huhzCEjdr_2Msby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46huhzCEjdr_2Msby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mgMiOEaQHw3lEd.Pk8gg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00005F"/>
      </a:dk2>
      <a:lt2>
        <a:srgbClr val="F0E8AE"/>
      </a:lt2>
      <a:accent1>
        <a:srgbClr val="00005F"/>
      </a:accent1>
      <a:accent2>
        <a:srgbClr val="B50728"/>
      </a:accent2>
      <a:accent3>
        <a:srgbClr val="AD9749"/>
      </a:accent3>
      <a:accent4>
        <a:srgbClr val="AD9749"/>
      </a:accent4>
      <a:accent5>
        <a:srgbClr val="E0CF3C"/>
      </a:accent5>
      <a:accent6>
        <a:srgbClr val="F0E8AE"/>
      </a:accent6>
      <a:hlink>
        <a:srgbClr val="356BA1"/>
      </a:hlink>
      <a:folHlink>
        <a:srgbClr val="B2B2B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fal Presentation Template w New Colors.potx" id="{AA08505F-D730-4D38-A8BB-4D849717BF42}" vid="{58E3B029-1859-48D6-95AF-AC53C4275360}"/>
    </a:ext>
  </a:extLst>
</a:theme>
</file>

<file path=ppt/theme/theme2.xml><?xml version="1.0" encoding="utf-8"?>
<a:theme xmlns:a="http://schemas.openxmlformats.org/drawingml/2006/main" name="1_Office Theme">
  <a:themeElements>
    <a:clrScheme name="Custom 5">
      <a:dk1>
        <a:srgbClr val="000000"/>
      </a:dk1>
      <a:lt1>
        <a:srgbClr val="FFFFFF"/>
      </a:lt1>
      <a:dk2>
        <a:srgbClr val="00005F"/>
      </a:dk2>
      <a:lt2>
        <a:srgbClr val="F0E8AE"/>
      </a:lt2>
      <a:accent1>
        <a:srgbClr val="00005F"/>
      </a:accent1>
      <a:accent2>
        <a:srgbClr val="B50728"/>
      </a:accent2>
      <a:accent3>
        <a:srgbClr val="AD9749"/>
      </a:accent3>
      <a:accent4>
        <a:srgbClr val="AD9749"/>
      </a:accent4>
      <a:accent5>
        <a:srgbClr val="E0CF3C"/>
      </a:accent5>
      <a:accent6>
        <a:srgbClr val="F0E8AE"/>
      </a:accent6>
      <a:hlink>
        <a:srgbClr val="356BA1"/>
      </a:hlink>
      <a:folHlink>
        <a:srgbClr val="B2B2B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fal Presentation Template w New Colors.potx" id="{AA08505F-D730-4D38-A8BB-4D849717BF42}" vid="{58E3B029-1859-48D6-95AF-AC53C427536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53e5660-146e-4d78-8f86-ac58ea4305f5">
      <UserInfo>
        <DisplayName>Mukta Pandit</DisplayName>
        <AccountId>11</AccountId>
        <AccountType/>
      </UserInfo>
    </SharedWithUsers>
    <lcf76f155ced4ddcb4097134ff3c332f xmlns="78b3a29e-8b67-460c-b972-eb941cb5aa5e">
      <Terms xmlns="http://schemas.microsoft.com/office/infopath/2007/PartnerControls"/>
    </lcf76f155ced4ddcb4097134ff3c332f>
    <TaxCatchAll xmlns="d53e5660-146e-4d78-8f86-ac58ea4305f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416B97E551424E934D0FD78FD81C8C" ma:contentTypeVersion="17" ma:contentTypeDescription="Create a new document." ma:contentTypeScope="" ma:versionID="d3d6d697840ee786193e1644696d64aa">
  <xsd:schema xmlns:xsd="http://www.w3.org/2001/XMLSchema" xmlns:xs="http://www.w3.org/2001/XMLSchema" xmlns:p="http://schemas.microsoft.com/office/2006/metadata/properties" xmlns:ns2="d53e5660-146e-4d78-8f86-ac58ea4305f5" xmlns:ns3="78b3a29e-8b67-460c-b972-eb941cb5aa5e" targetNamespace="http://schemas.microsoft.com/office/2006/metadata/properties" ma:root="true" ma:fieldsID="71dd15b0a2c542a4f1a3836969e68d46" ns2:_="" ns3:_="">
    <xsd:import namespace="d53e5660-146e-4d78-8f86-ac58ea4305f5"/>
    <xsd:import namespace="78b3a29e-8b67-460c-b972-eb941cb5aa5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EventHashCode" minOccurs="0"/>
                <xsd:element ref="ns3:MediaServiceGenerationTime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3e5660-146e-4d78-8f86-ac58ea4305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fc0e2b5-2634-413f-9347-cc38b9e9cc9c}" ma:internalName="TaxCatchAll" ma:showField="CatchAllData" ma:web="d53e5660-146e-4d78-8f86-ac58ea4305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b3a29e-8b67-460c-b972-eb941cb5aa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340efca0-e4bb-4e8d-9d61-7e4cbb849e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422E21-D854-42F4-B8A2-7F3698CAC8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E50F3E-4833-448E-896F-43673F0CAA45}">
  <ds:schemaRefs>
    <ds:schemaRef ds:uri="d53e5660-146e-4d78-8f86-ac58ea4305f5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78b3a29e-8b67-460c-b972-eb941cb5aa5e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6199C64-8D1A-4D9A-B998-3BCA35FC8F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3e5660-146e-4d78-8f86-ac58ea4305f5"/>
    <ds:schemaRef ds:uri="78b3a29e-8b67-460c-b972-eb941cb5aa5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64</TotalTime>
  <Words>2446</Words>
  <Application>Microsoft Office PowerPoint</Application>
  <PresentationFormat>Widescreen</PresentationFormat>
  <Paragraphs>270</Paragraphs>
  <Slides>25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5" baseType="lpstr">
      <vt:lpstr>Arial</vt:lpstr>
      <vt:lpstr>Calibri</vt:lpstr>
      <vt:lpstr>Franklin Gothic Book</vt:lpstr>
      <vt:lpstr>Franklin Gothic Heavy</vt:lpstr>
      <vt:lpstr>Franklin Gothic Medium</vt:lpstr>
      <vt:lpstr>Wingdings</vt:lpstr>
      <vt:lpstr>Wingdings,Sans-Serif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Apprenticeship: Why and What</vt:lpstr>
      <vt:lpstr>Understanding Apprenticeship</vt:lpstr>
      <vt:lpstr>What is Apprenticeship?</vt:lpstr>
      <vt:lpstr>Five Core Components</vt:lpstr>
      <vt:lpstr>What’s Driving RA Expansion? </vt:lpstr>
      <vt:lpstr>Spanning all Sectors</vt:lpstr>
      <vt:lpstr>Businesses Using RA</vt:lpstr>
      <vt:lpstr>Why They're Choosing RA </vt:lpstr>
      <vt:lpstr>Why They're Choosing RA </vt:lpstr>
      <vt:lpstr>Pre-Apprenticeship:  What, Why and How</vt:lpstr>
      <vt:lpstr>What is Pre-Apprenticeship?</vt:lpstr>
      <vt:lpstr>6 High-Quality Hallmarks</vt:lpstr>
      <vt:lpstr>Role of CTE in RA 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vani Chatterjee</dc:creator>
  <cp:lastModifiedBy>Colleen Beck</cp:lastModifiedBy>
  <cp:revision>3</cp:revision>
  <dcterms:modified xsi:type="dcterms:W3CDTF">2022-12-16T19:4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416B97E551424E934D0FD78FD81C8C</vt:lpwstr>
  </property>
  <property fmtid="{D5CDD505-2E9C-101B-9397-08002B2CF9AE}" pid="3" name="MediaServiceImageTags">
    <vt:lpwstr/>
  </property>
  <property fmtid="{D5CDD505-2E9C-101B-9397-08002B2CF9AE}" pid="4" name="ArticulateGUID">
    <vt:lpwstr>A3437D5B-FB5A-4501-84E1-E90DF2808717</vt:lpwstr>
  </property>
  <property fmtid="{D5CDD505-2E9C-101B-9397-08002B2CF9AE}" pid="5" name="ArticulatePath">
    <vt:lpwstr>https://safalpartners1.sharepoint.com/sites/external/Shared Documents/DOL Center Of Excellence/Resource &amp; TA Documents/COABE/COABE Conference/COABE_COE Presentation_2022</vt:lpwstr>
  </property>
</Properties>
</file>